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notesSlides/notesSlide2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notesSlides/notesSlide25.xml" ContentType="application/vnd.openxmlformats-officedocument.presentationml.notesSlide+xml"/>
  <Override PartName="/ppt/tags/tag45.xml" ContentType="application/vnd.openxmlformats-officedocument.presentationml.tags+xml"/>
  <Override PartName="/ppt/notesSlides/notesSlide26.xml" ContentType="application/vnd.openxmlformats-officedocument.presentationml.notesSlide+xml"/>
  <Override PartName="/ppt/tags/tag46.xml" ContentType="application/vnd.openxmlformats-officedocument.presentationml.tags+xml"/>
  <Override PartName="/ppt/notesSlides/notesSlide27.xml" ContentType="application/vnd.openxmlformats-officedocument.presentationml.notesSlide+xml"/>
  <Override PartName="/ppt/tags/tag47.xml" ContentType="application/vnd.openxmlformats-officedocument.presentationml.tags+xml"/>
  <Override PartName="/ppt/notesSlides/notesSlide28.xml" ContentType="application/vnd.openxmlformats-officedocument.presentationml.notesSlide+xml"/>
  <Override PartName="/ppt/tags/tag48.xml" ContentType="application/vnd.openxmlformats-officedocument.presentationml.tags+xml"/>
  <Override PartName="/ppt/notesSlides/notesSlide29.xml" ContentType="application/vnd.openxmlformats-officedocument.presentationml.notesSlide+xml"/>
  <Override PartName="/ppt/tags/tag49.xml" ContentType="application/vnd.openxmlformats-officedocument.presentationml.tags+xml"/>
  <Override PartName="/ppt/notesSlides/notesSlide30.xml" ContentType="application/vnd.openxmlformats-officedocument.presentationml.notesSlide+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notesSlides/notesSlide32.xml" ContentType="application/vnd.openxmlformats-officedocument.presentationml.notesSlide+xml"/>
  <Override PartName="/ppt/tags/tag52.xml" ContentType="application/vnd.openxmlformats-officedocument.presentationml.tags+xml"/>
  <Override PartName="/ppt/notesSlides/notesSlide33.xml" ContentType="application/vnd.openxmlformats-officedocument.presentationml.notesSlide+xml"/>
  <Override PartName="/ppt/tags/tag53.xml" ContentType="application/vnd.openxmlformats-officedocument.presentationml.tags+xml"/>
  <Override PartName="/ppt/notesSlides/notesSlide34.xml" ContentType="application/vnd.openxmlformats-officedocument.presentationml.notesSlide+xml"/>
  <Override PartName="/ppt/tags/tag54.xml" ContentType="application/vnd.openxmlformats-officedocument.presentationml.tags+xml"/>
  <Override PartName="/ppt/notesSlides/notesSlide35.xml" ContentType="application/vnd.openxmlformats-officedocument.presentationml.notesSlide+xml"/>
  <Override PartName="/ppt/tags/tag55.xml" ContentType="application/vnd.openxmlformats-officedocument.presentationml.tags+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0" r:id="rId45"/>
  </p:sldMasterIdLst>
  <p:notesMasterIdLst>
    <p:notesMasterId r:id="rId82"/>
  </p:notesMasterIdLst>
  <p:sldIdLst>
    <p:sldId id="2147469909" r:id="rId46"/>
    <p:sldId id="325" r:id="rId47"/>
    <p:sldId id="2147469902" r:id="rId48"/>
    <p:sldId id="2145706662" r:id="rId49"/>
    <p:sldId id="261" r:id="rId50"/>
    <p:sldId id="270" r:id="rId51"/>
    <p:sldId id="271" r:id="rId52"/>
    <p:sldId id="2147469903" r:id="rId53"/>
    <p:sldId id="274" r:id="rId54"/>
    <p:sldId id="276" r:id="rId55"/>
    <p:sldId id="273" r:id="rId56"/>
    <p:sldId id="2147469904" r:id="rId57"/>
    <p:sldId id="2147469905" r:id="rId58"/>
    <p:sldId id="280" r:id="rId59"/>
    <p:sldId id="281" r:id="rId60"/>
    <p:sldId id="282" r:id="rId61"/>
    <p:sldId id="283" r:id="rId62"/>
    <p:sldId id="284" r:id="rId63"/>
    <p:sldId id="285" r:id="rId64"/>
    <p:sldId id="2147469906" r:id="rId65"/>
    <p:sldId id="263" r:id="rId66"/>
    <p:sldId id="287" r:id="rId67"/>
    <p:sldId id="323" r:id="rId68"/>
    <p:sldId id="324" r:id="rId69"/>
    <p:sldId id="289" r:id="rId70"/>
    <p:sldId id="291" r:id="rId71"/>
    <p:sldId id="292" r:id="rId72"/>
    <p:sldId id="293" r:id="rId73"/>
    <p:sldId id="295" r:id="rId74"/>
    <p:sldId id="294" r:id="rId75"/>
    <p:sldId id="296" r:id="rId76"/>
    <p:sldId id="297" r:id="rId77"/>
    <p:sldId id="322" r:id="rId78"/>
    <p:sldId id="2147469907" r:id="rId79"/>
    <p:sldId id="2147469908" r:id="rId80"/>
    <p:sldId id="269" r:id="rId81"/>
  </p:sldIdLst>
  <p:sldSz cx="12192000" cy="6858000"/>
  <p:notesSz cx="6858000" cy="9144000"/>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EC13BF-1EC2-498B-9227-85FD9360981C}">
          <p14:sldIdLst>
            <p14:sldId id="2147469909"/>
            <p14:sldId id="325"/>
            <p14:sldId id="2147469902"/>
          </p14:sldIdLst>
        </p14:section>
        <p14:section name="Understand Gateways" id="{AED9690F-5527-4CA7-A989-E29CFE32647F}">
          <p14:sldIdLst>
            <p14:sldId id="2145706662"/>
            <p14:sldId id="261"/>
            <p14:sldId id="270"/>
            <p14:sldId id="271"/>
          </p14:sldIdLst>
        </p14:section>
        <p14:section name="Gateway Installation" id="{6FC9DB8F-96C7-45A5-B049-CB1FC9547633}">
          <p14:sldIdLst>
            <p14:sldId id="2147469903"/>
            <p14:sldId id="274"/>
            <p14:sldId id="276"/>
            <p14:sldId id="273"/>
            <p14:sldId id="2147469904"/>
          </p14:sldIdLst>
        </p14:section>
        <p14:section name="Gateway App features" id="{971333B6-6779-42E3-B10C-51973D559B98}">
          <p14:sldIdLst>
            <p14:sldId id="2147469905"/>
            <p14:sldId id="280"/>
            <p14:sldId id="281"/>
            <p14:sldId id="282"/>
            <p14:sldId id="283"/>
            <p14:sldId id="284"/>
            <p14:sldId id="285"/>
          </p14:sldIdLst>
        </p14:section>
        <p14:section name="Managing gateways" id="{D601BB89-E5AC-435F-90DE-14775C41DAEE}">
          <p14:sldIdLst>
            <p14:sldId id="2147469906"/>
            <p14:sldId id="263"/>
            <p14:sldId id="287"/>
            <p14:sldId id="323"/>
            <p14:sldId id="324"/>
            <p14:sldId id="289"/>
            <p14:sldId id="291"/>
            <p14:sldId id="292"/>
            <p14:sldId id="293"/>
            <p14:sldId id="295"/>
            <p14:sldId id="294"/>
            <p14:sldId id="296"/>
            <p14:sldId id="297"/>
            <p14:sldId id="322"/>
            <p14:sldId id="2147469907"/>
            <p14:sldId id="2147469908"/>
            <p14:sldId id="2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4D49CF-95D0-408A-BD73-431F7D58B37C}" v="102" dt="2023-05-04T14:06:31.297"/>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71273" autoAdjust="0"/>
  </p:normalViewPr>
  <p:slideViewPr>
    <p:cSldViewPr snapToGrid="0">
      <p:cViewPr varScale="1">
        <p:scale>
          <a:sx n="79" d="100"/>
          <a:sy n="79" d="100"/>
        </p:scale>
        <p:origin x="1038" y="78"/>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2.xml"/><Relationship Id="rId63" Type="http://schemas.openxmlformats.org/officeDocument/2006/relationships/slide" Target="slides/slide18.xml"/><Relationship Id="rId68" Type="http://schemas.openxmlformats.org/officeDocument/2006/relationships/slide" Target="slides/slide23.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8.xml"/><Relationship Id="rId58" Type="http://schemas.openxmlformats.org/officeDocument/2006/relationships/slide" Target="slides/slide13.xml"/><Relationship Id="rId74" Type="http://schemas.openxmlformats.org/officeDocument/2006/relationships/slide" Target="slides/slide29.xml"/><Relationship Id="rId79" Type="http://schemas.openxmlformats.org/officeDocument/2006/relationships/slide" Target="slides/slide34.xml"/><Relationship Id="rId5" Type="http://schemas.openxmlformats.org/officeDocument/2006/relationships/customXml" Target="../customXml/item5.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slide" Target="slides/slide3.xml"/><Relationship Id="rId56" Type="http://schemas.openxmlformats.org/officeDocument/2006/relationships/slide" Target="slides/slide11.xml"/><Relationship Id="rId64" Type="http://schemas.openxmlformats.org/officeDocument/2006/relationships/slide" Target="slides/slide19.xml"/><Relationship Id="rId69" Type="http://schemas.openxmlformats.org/officeDocument/2006/relationships/slide" Target="slides/slide24.xml"/><Relationship Id="rId77" Type="http://schemas.openxmlformats.org/officeDocument/2006/relationships/slide" Target="slides/slide32.xml"/><Relationship Id="rId8" Type="http://schemas.openxmlformats.org/officeDocument/2006/relationships/customXml" Target="../customXml/item8.xml"/><Relationship Id="rId51" Type="http://schemas.openxmlformats.org/officeDocument/2006/relationships/slide" Target="slides/slide6.xml"/><Relationship Id="rId72" Type="http://schemas.openxmlformats.org/officeDocument/2006/relationships/slide" Target="slides/slide27.xml"/><Relationship Id="rId80" Type="http://schemas.openxmlformats.org/officeDocument/2006/relationships/slide" Target="slides/slide35.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1.xml"/><Relationship Id="rId59" Type="http://schemas.openxmlformats.org/officeDocument/2006/relationships/slide" Target="slides/slide14.xml"/><Relationship Id="rId67" Type="http://schemas.openxmlformats.org/officeDocument/2006/relationships/slide" Target="slides/slide22.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9.xml"/><Relationship Id="rId62" Type="http://schemas.openxmlformats.org/officeDocument/2006/relationships/slide" Target="slides/slide17.xml"/><Relationship Id="rId70" Type="http://schemas.openxmlformats.org/officeDocument/2006/relationships/slide" Target="slides/slide25.xml"/><Relationship Id="rId75" Type="http://schemas.openxmlformats.org/officeDocument/2006/relationships/slide" Target="slides/slide30.xml"/><Relationship Id="rId83" Type="http://schemas.openxmlformats.org/officeDocument/2006/relationships/tags" Target="tags/tag1.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4.xml"/><Relationship Id="rId57" Type="http://schemas.openxmlformats.org/officeDocument/2006/relationships/slide" Target="slides/slide12.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 Target="slides/slide7.xml"/><Relationship Id="rId60" Type="http://schemas.openxmlformats.org/officeDocument/2006/relationships/slide" Target="slides/slide15.xml"/><Relationship Id="rId65" Type="http://schemas.openxmlformats.org/officeDocument/2006/relationships/slide" Target="slides/slide20.xml"/><Relationship Id="rId73" Type="http://schemas.openxmlformats.org/officeDocument/2006/relationships/slide" Target="slides/slide28.xml"/><Relationship Id="rId78" Type="http://schemas.openxmlformats.org/officeDocument/2006/relationships/slide" Target="slides/slide33.xml"/><Relationship Id="rId81" Type="http://schemas.openxmlformats.org/officeDocument/2006/relationships/slide" Target="slides/slide36.xml"/><Relationship Id="rId86"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5.xml"/><Relationship Id="rId55" Type="http://schemas.openxmlformats.org/officeDocument/2006/relationships/slide" Target="slides/slide10.xml"/><Relationship Id="rId76" Type="http://schemas.openxmlformats.org/officeDocument/2006/relationships/slide" Target="slides/slide31.xml"/><Relationship Id="rId7" Type="http://schemas.openxmlformats.org/officeDocument/2006/relationships/customXml" Target="../customXml/item7.xml"/><Relationship Id="rId71" Type="http://schemas.openxmlformats.org/officeDocument/2006/relationships/slide" Target="slides/slide26.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slideMaster" Target="slideMasters/slideMaster1.xml"/><Relationship Id="rId66" Type="http://schemas.openxmlformats.org/officeDocument/2006/relationships/slide" Target="slides/slide21.xml"/><Relationship Id="rId87" Type="http://schemas.openxmlformats.org/officeDocument/2006/relationships/tableStyles" Target="tableStyles.xml"/><Relationship Id="rId61" Type="http://schemas.openxmlformats.org/officeDocument/2006/relationships/slide" Target="slides/slide16.xml"/><Relationship Id="rId82" Type="http://schemas.openxmlformats.org/officeDocument/2006/relationships/notesMaster" Target="notesMasters/notesMaster1.xml"/><Relationship Id="rId19" Type="http://schemas.openxmlformats.org/officeDocument/2006/relationships/customXml" Target="../customXml/item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 Puustinen" userId="afdc5376-b007-4d8e-9c19-07b3fbb81413" providerId="ADAL" clId="{2E4ADEF1-9EF0-4897-BF30-55B91A9C14A9}"/>
    <pc:docChg chg="custSel addSld modSld">
      <pc:chgData name="Pete Puustinen" userId="afdc5376-b007-4d8e-9c19-07b3fbb81413" providerId="ADAL" clId="{2E4ADEF1-9EF0-4897-BF30-55B91A9C14A9}" dt="2022-10-25T17:24:41.549" v="368" actId="6549"/>
      <pc:docMkLst>
        <pc:docMk/>
      </pc:docMkLst>
      <pc:sldChg chg="modNotesTx">
        <pc:chgData name="Pete Puustinen" userId="afdc5376-b007-4d8e-9c19-07b3fbb81413" providerId="ADAL" clId="{2E4ADEF1-9EF0-4897-BF30-55B91A9C14A9}" dt="2022-10-24T10:51:45.257" v="219" actId="20577"/>
        <pc:sldMkLst>
          <pc:docMk/>
          <pc:sldMk cId="2625495361" sldId="277"/>
        </pc:sldMkLst>
      </pc:sldChg>
      <pc:sldChg chg="modSp mod modNotesTx">
        <pc:chgData name="Pete Puustinen" userId="afdc5376-b007-4d8e-9c19-07b3fbb81413" providerId="ADAL" clId="{2E4ADEF1-9EF0-4897-BF30-55B91A9C14A9}" dt="2022-10-24T10:50:31.836" v="113" actId="20577"/>
        <pc:sldMkLst>
          <pc:docMk/>
          <pc:sldMk cId="3976882027" sldId="278"/>
        </pc:sldMkLst>
        <pc:spChg chg="mod">
          <ac:chgData name="Pete Puustinen" userId="afdc5376-b007-4d8e-9c19-07b3fbb81413" providerId="ADAL" clId="{2E4ADEF1-9EF0-4897-BF30-55B91A9C14A9}" dt="2022-10-24T10:49:50.579" v="22" actId="20577"/>
          <ac:spMkLst>
            <pc:docMk/>
            <pc:sldMk cId="3976882027" sldId="278"/>
            <ac:spMk id="5" creationId="{27132E6D-A6EE-402B-895A-D0B053AB702A}"/>
          </ac:spMkLst>
        </pc:spChg>
      </pc:sldChg>
      <pc:sldChg chg="modSp mod">
        <pc:chgData name="Pete Puustinen" userId="afdc5376-b007-4d8e-9c19-07b3fbb81413" providerId="ADAL" clId="{2E4ADEF1-9EF0-4897-BF30-55B91A9C14A9}" dt="2022-10-24T10:48:17.750" v="11" actId="14100"/>
        <pc:sldMkLst>
          <pc:docMk/>
          <pc:sldMk cId="378527293" sldId="280"/>
        </pc:sldMkLst>
        <pc:spChg chg="mod">
          <ac:chgData name="Pete Puustinen" userId="afdc5376-b007-4d8e-9c19-07b3fbb81413" providerId="ADAL" clId="{2E4ADEF1-9EF0-4897-BF30-55B91A9C14A9}" dt="2022-10-24T10:48:17.750" v="11" actId="14100"/>
          <ac:spMkLst>
            <pc:docMk/>
            <pc:sldMk cId="378527293" sldId="280"/>
            <ac:spMk id="3" creationId="{00000000-0000-0000-0000-000000000000}"/>
          </ac:spMkLst>
        </pc:spChg>
      </pc:sldChg>
      <pc:sldChg chg="modSp mod">
        <pc:chgData name="Pete Puustinen" userId="afdc5376-b007-4d8e-9c19-07b3fbb81413" providerId="ADAL" clId="{2E4ADEF1-9EF0-4897-BF30-55B91A9C14A9}" dt="2022-10-24T10:48:35.458" v="12" actId="403"/>
        <pc:sldMkLst>
          <pc:docMk/>
          <pc:sldMk cId="3017544052" sldId="281"/>
        </pc:sldMkLst>
        <pc:spChg chg="mod">
          <ac:chgData name="Pete Puustinen" userId="afdc5376-b007-4d8e-9c19-07b3fbb81413" providerId="ADAL" clId="{2E4ADEF1-9EF0-4897-BF30-55B91A9C14A9}" dt="2022-10-24T10:48:35.458" v="12" actId="403"/>
          <ac:spMkLst>
            <pc:docMk/>
            <pc:sldMk cId="3017544052" sldId="281"/>
            <ac:spMk id="3" creationId="{00000000-0000-0000-0000-000000000000}"/>
          </ac:spMkLst>
        </pc:spChg>
      </pc:sldChg>
      <pc:sldChg chg="modSp mod">
        <pc:chgData name="Pete Puustinen" userId="afdc5376-b007-4d8e-9c19-07b3fbb81413" providerId="ADAL" clId="{2E4ADEF1-9EF0-4897-BF30-55B91A9C14A9}" dt="2022-10-24T10:49:39.950" v="13" actId="6549"/>
        <pc:sldMkLst>
          <pc:docMk/>
          <pc:sldMk cId="2133019261" sldId="286"/>
        </pc:sldMkLst>
        <pc:spChg chg="mod">
          <ac:chgData name="Pete Puustinen" userId="afdc5376-b007-4d8e-9c19-07b3fbb81413" providerId="ADAL" clId="{2E4ADEF1-9EF0-4897-BF30-55B91A9C14A9}" dt="2022-10-24T10:49:39.950" v="13" actId="6549"/>
          <ac:spMkLst>
            <pc:docMk/>
            <pc:sldMk cId="2133019261" sldId="286"/>
            <ac:spMk id="5" creationId="{27132E6D-A6EE-402B-895A-D0B053AB702A}"/>
          </ac:spMkLst>
        </pc:spChg>
      </pc:sldChg>
      <pc:sldChg chg="modSp mod">
        <pc:chgData name="Pete Puustinen" userId="afdc5376-b007-4d8e-9c19-07b3fbb81413" providerId="ADAL" clId="{2E4ADEF1-9EF0-4897-BF30-55B91A9C14A9}" dt="2022-10-25T17:23:19.928" v="314" actId="14100"/>
        <pc:sldMkLst>
          <pc:docMk/>
          <pc:sldMk cId="38787934" sldId="288"/>
        </pc:sldMkLst>
        <pc:spChg chg="mod">
          <ac:chgData name="Pete Puustinen" userId="afdc5376-b007-4d8e-9c19-07b3fbb81413" providerId="ADAL" clId="{2E4ADEF1-9EF0-4897-BF30-55B91A9C14A9}" dt="2022-10-25T17:23:19.928" v="314" actId="14100"/>
          <ac:spMkLst>
            <pc:docMk/>
            <pc:sldMk cId="38787934" sldId="288"/>
            <ac:spMk id="10" creationId="{E4F20610-6F36-4C62-BD30-C7AD324DC0BE}"/>
          </ac:spMkLst>
        </pc:spChg>
      </pc:sldChg>
      <pc:sldChg chg="modSp mod">
        <pc:chgData name="Pete Puustinen" userId="afdc5376-b007-4d8e-9c19-07b3fbb81413" providerId="ADAL" clId="{2E4ADEF1-9EF0-4897-BF30-55B91A9C14A9}" dt="2022-10-25T17:23:12.009" v="313" actId="14100"/>
        <pc:sldMkLst>
          <pc:docMk/>
          <pc:sldMk cId="3667999408" sldId="289"/>
        </pc:sldMkLst>
        <pc:spChg chg="mod">
          <ac:chgData name="Pete Puustinen" userId="afdc5376-b007-4d8e-9c19-07b3fbb81413" providerId="ADAL" clId="{2E4ADEF1-9EF0-4897-BF30-55B91A9C14A9}" dt="2022-10-25T17:23:12.009" v="313" actId="14100"/>
          <ac:spMkLst>
            <pc:docMk/>
            <pc:sldMk cId="3667999408" sldId="289"/>
            <ac:spMk id="10" creationId="{E4F20610-6F36-4C62-BD30-C7AD324DC0BE}"/>
          </ac:spMkLst>
        </pc:spChg>
      </pc:sldChg>
      <pc:sldChg chg="modSp mod">
        <pc:chgData name="Pete Puustinen" userId="afdc5376-b007-4d8e-9c19-07b3fbb81413" providerId="ADAL" clId="{2E4ADEF1-9EF0-4897-BF30-55B91A9C14A9}" dt="2022-10-25T17:23:08.286" v="312" actId="14100"/>
        <pc:sldMkLst>
          <pc:docMk/>
          <pc:sldMk cId="1309571199" sldId="291"/>
        </pc:sldMkLst>
        <pc:spChg chg="mod">
          <ac:chgData name="Pete Puustinen" userId="afdc5376-b007-4d8e-9c19-07b3fbb81413" providerId="ADAL" clId="{2E4ADEF1-9EF0-4897-BF30-55B91A9C14A9}" dt="2022-10-25T17:23:08.286" v="312" actId="14100"/>
          <ac:spMkLst>
            <pc:docMk/>
            <pc:sldMk cId="1309571199" sldId="291"/>
            <ac:spMk id="10" creationId="{E4F20610-6F36-4C62-BD30-C7AD324DC0BE}"/>
          </ac:spMkLst>
        </pc:spChg>
      </pc:sldChg>
      <pc:sldChg chg="modSp mod">
        <pc:chgData name="Pete Puustinen" userId="afdc5376-b007-4d8e-9c19-07b3fbb81413" providerId="ADAL" clId="{2E4ADEF1-9EF0-4897-BF30-55B91A9C14A9}" dt="2022-10-25T17:23:04.287" v="311" actId="14100"/>
        <pc:sldMkLst>
          <pc:docMk/>
          <pc:sldMk cId="3169648977" sldId="292"/>
        </pc:sldMkLst>
        <pc:spChg chg="mod">
          <ac:chgData name="Pete Puustinen" userId="afdc5376-b007-4d8e-9c19-07b3fbb81413" providerId="ADAL" clId="{2E4ADEF1-9EF0-4897-BF30-55B91A9C14A9}" dt="2022-10-25T17:23:04.287" v="311" actId="14100"/>
          <ac:spMkLst>
            <pc:docMk/>
            <pc:sldMk cId="3169648977" sldId="292"/>
            <ac:spMk id="10" creationId="{E4F20610-6F36-4C62-BD30-C7AD324DC0BE}"/>
          </ac:spMkLst>
        </pc:spChg>
      </pc:sldChg>
      <pc:sldChg chg="modSp mod">
        <pc:chgData name="Pete Puustinen" userId="afdc5376-b007-4d8e-9c19-07b3fbb81413" providerId="ADAL" clId="{2E4ADEF1-9EF0-4897-BF30-55B91A9C14A9}" dt="2022-10-25T17:22:30.079" v="310" actId="14100"/>
        <pc:sldMkLst>
          <pc:docMk/>
          <pc:sldMk cId="1402862391" sldId="293"/>
        </pc:sldMkLst>
        <pc:spChg chg="mod">
          <ac:chgData name="Pete Puustinen" userId="afdc5376-b007-4d8e-9c19-07b3fbb81413" providerId="ADAL" clId="{2E4ADEF1-9EF0-4897-BF30-55B91A9C14A9}" dt="2022-10-25T17:22:27.149" v="309" actId="14100"/>
          <ac:spMkLst>
            <pc:docMk/>
            <pc:sldMk cId="1402862391" sldId="293"/>
            <ac:spMk id="7" creationId="{B566A8DD-053A-4F68-9380-E418138F549B}"/>
          </ac:spMkLst>
        </pc:spChg>
        <pc:spChg chg="mod">
          <ac:chgData name="Pete Puustinen" userId="afdc5376-b007-4d8e-9c19-07b3fbb81413" providerId="ADAL" clId="{2E4ADEF1-9EF0-4897-BF30-55B91A9C14A9}" dt="2022-10-25T17:22:30.079" v="310" actId="14100"/>
          <ac:spMkLst>
            <pc:docMk/>
            <pc:sldMk cId="1402862391" sldId="293"/>
            <ac:spMk id="10" creationId="{E4F20610-6F36-4C62-BD30-C7AD324DC0BE}"/>
          </ac:spMkLst>
        </pc:spChg>
      </pc:sldChg>
      <pc:sldChg chg="modSp mod">
        <pc:chgData name="Pete Puustinen" userId="afdc5376-b007-4d8e-9c19-07b3fbb81413" providerId="ADAL" clId="{2E4ADEF1-9EF0-4897-BF30-55B91A9C14A9}" dt="2022-10-25T17:22:22.823" v="308" actId="14100"/>
        <pc:sldMkLst>
          <pc:docMk/>
          <pc:sldMk cId="1254104332" sldId="295"/>
        </pc:sldMkLst>
        <pc:spChg chg="mod">
          <ac:chgData name="Pete Puustinen" userId="afdc5376-b007-4d8e-9c19-07b3fbb81413" providerId="ADAL" clId="{2E4ADEF1-9EF0-4897-BF30-55B91A9C14A9}" dt="2022-10-25T17:22:22.823" v="308" actId="14100"/>
          <ac:spMkLst>
            <pc:docMk/>
            <pc:sldMk cId="1254104332" sldId="295"/>
            <ac:spMk id="10" creationId="{E4F20610-6F36-4C62-BD30-C7AD324DC0BE}"/>
          </ac:spMkLst>
        </pc:spChg>
      </pc:sldChg>
      <pc:sldChg chg="modSp mod">
        <pc:chgData name="Pete Puustinen" userId="afdc5376-b007-4d8e-9c19-07b3fbb81413" providerId="ADAL" clId="{2E4ADEF1-9EF0-4897-BF30-55B91A9C14A9}" dt="2022-10-25T17:22:17.341" v="307" actId="14100"/>
        <pc:sldMkLst>
          <pc:docMk/>
          <pc:sldMk cId="85784363" sldId="296"/>
        </pc:sldMkLst>
        <pc:spChg chg="mod">
          <ac:chgData name="Pete Puustinen" userId="afdc5376-b007-4d8e-9c19-07b3fbb81413" providerId="ADAL" clId="{2E4ADEF1-9EF0-4897-BF30-55B91A9C14A9}" dt="2022-10-25T17:22:17.341" v="307" actId="14100"/>
          <ac:spMkLst>
            <pc:docMk/>
            <pc:sldMk cId="85784363" sldId="296"/>
            <ac:spMk id="10" creationId="{E4F20610-6F36-4C62-BD30-C7AD324DC0BE}"/>
          </ac:spMkLst>
        </pc:spChg>
      </pc:sldChg>
      <pc:sldChg chg="modSp mod">
        <pc:chgData name="Pete Puustinen" userId="afdc5376-b007-4d8e-9c19-07b3fbb81413" providerId="ADAL" clId="{2E4ADEF1-9EF0-4897-BF30-55B91A9C14A9}" dt="2022-10-25T17:22:13.953" v="306" actId="14100"/>
        <pc:sldMkLst>
          <pc:docMk/>
          <pc:sldMk cId="1080753972" sldId="297"/>
        </pc:sldMkLst>
        <pc:spChg chg="mod">
          <ac:chgData name="Pete Puustinen" userId="afdc5376-b007-4d8e-9c19-07b3fbb81413" providerId="ADAL" clId="{2E4ADEF1-9EF0-4897-BF30-55B91A9C14A9}" dt="2022-10-25T17:22:13.953" v="306" actId="14100"/>
          <ac:spMkLst>
            <pc:docMk/>
            <pc:sldMk cId="1080753972" sldId="297"/>
            <ac:spMk id="10" creationId="{E4F20610-6F36-4C62-BD30-C7AD324DC0BE}"/>
          </ac:spMkLst>
        </pc:spChg>
      </pc:sldChg>
      <pc:sldChg chg="addSp delSp modSp add mod">
        <pc:chgData name="Pete Puustinen" userId="afdc5376-b007-4d8e-9c19-07b3fbb81413" providerId="ADAL" clId="{2E4ADEF1-9EF0-4897-BF30-55B91A9C14A9}" dt="2022-10-25T17:24:41.549" v="368" actId="6549"/>
        <pc:sldMkLst>
          <pc:docMk/>
          <pc:sldMk cId="989710959" sldId="322"/>
        </pc:sldMkLst>
        <pc:spChg chg="mod">
          <ac:chgData name="Pete Puustinen" userId="afdc5376-b007-4d8e-9c19-07b3fbb81413" providerId="ADAL" clId="{2E4ADEF1-9EF0-4897-BF30-55B91A9C14A9}" dt="2022-10-24T10:52:48.106" v="259" actId="6549"/>
          <ac:spMkLst>
            <pc:docMk/>
            <pc:sldMk cId="989710959" sldId="322"/>
            <ac:spMk id="3" creationId="{00000000-0000-0000-0000-000000000000}"/>
          </ac:spMkLst>
        </pc:spChg>
        <pc:spChg chg="add mod">
          <ac:chgData name="Pete Puustinen" userId="afdc5376-b007-4d8e-9c19-07b3fbb81413" providerId="ADAL" clId="{2E4ADEF1-9EF0-4897-BF30-55B91A9C14A9}" dt="2022-10-25T17:21:17.434" v="298" actId="404"/>
          <ac:spMkLst>
            <pc:docMk/>
            <pc:sldMk cId="989710959" sldId="322"/>
            <ac:spMk id="5" creationId="{C8101BE9-B1BB-D97B-6906-C9D907D78EF2}"/>
          </ac:spMkLst>
        </pc:spChg>
        <pc:spChg chg="mod">
          <ac:chgData name="Pete Puustinen" userId="afdc5376-b007-4d8e-9c19-07b3fbb81413" providerId="ADAL" clId="{2E4ADEF1-9EF0-4897-BF30-55B91A9C14A9}" dt="2022-10-25T17:24:41.549" v="368" actId="6549"/>
          <ac:spMkLst>
            <pc:docMk/>
            <pc:sldMk cId="989710959" sldId="322"/>
            <ac:spMk id="10" creationId="{E4F20610-6F36-4C62-BD30-C7AD324DC0BE}"/>
          </ac:spMkLst>
        </pc:spChg>
        <pc:picChg chg="del">
          <ac:chgData name="Pete Puustinen" userId="afdc5376-b007-4d8e-9c19-07b3fbb81413" providerId="ADAL" clId="{2E4ADEF1-9EF0-4897-BF30-55B91A9C14A9}" dt="2022-10-24T10:52:14.746" v="255" actId="478"/>
          <ac:picMkLst>
            <pc:docMk/>
            <pc:sldMk cId="989710959" sldId="322"/>
            <ac:picMk id="4" creationId="{8CDDE52B-B959-486D-9BA3-33CEE0235032}"/>
          </ac:picMkLst>
        </pc:picChg>
        <pc:picChg chg="add del mod">
          <ac:chgData name="Pete Puustinen" userId="afdc5376-b007-4d8e-9c19-07b3fbb81413" providerId="ADAL" clId="{2E4ADEF1-9EF0-4897-BF30-55B91A9C14A9}" dt="2022-10-25T17:21:27.519" v="300" actId="478"/>
          <ac:picMkLst>
            <pc:docMk/>
            <pc:sldMk cId="989710959" sldId="322"/>
            <ac:picMk id="7" creationId="{D681CC4D-F652-C220-9736-051CE46D49E7}"/>
          </ac:picMkLst>
        </pc:picChg>
        <pc:picChg chg="add mod">
          <ac:chgData name="Pete Puustinen" userId="afdc5376-b007-4d8e-9c19-07b3fbb81413" providerId="ADAL" clId="{2E4ADEF1-9EF0-4897-BF30-55B91A9C14A9}" dt="2022-10-25T17:22:02.853" v="304" actId="1076"/>
          <ac:picMkLst>
            <pc:docMk/>
            <pc:sldMk cId="989710959" sldId="322"/>
            <ac:picMk id="9" creationId="{60795566-D4CA-EFA3-D3D3-2818D9DAB907}"/>
          </ac:picMkLst>
        </pc:picChg>
      </pc:sldChg>
    </pc:docChg>
  </pc:docChgLst>
  <pc:docChgLst>
    <pc:chgData name="Murat Odabasi" userId="S::muratod@microsoft.com::d77b5acb-2443-4df7-b8cb-ac216c1fac5a" providerId="AD" clId="Web-{C647A2FD-1113-21CE-E709-EB57DC5DC146}"/>
    <pc:docChg chg="modSld">
      <pc:chgData name="Murat Odabasi" userId="S::muratod@microsoft.com::d77b5acb-2443-4df7-b8cb-ac216c1fac5a" providerId="AD" clId="Web-{C647A2FD-1113-21CE-E709-EB57DC5DC146}" dt="2021-08-27T16:05:33.373" v="3" actId="20577"/>
      <pc:docMkLst>
        <pc:docMk/>
      </pc:docMkLst>
      <pc:sldChg chg="modSp">
        <pc:chgData name="Murat Odabasi" userId="S::muratod@microsoft.com::d77b5acb-2443-4df7-b8cb-ac216c1fac5a" providerId="AD" clId="Web-{C647A2FD-1113-21CE-E709-EB57DC5DC146}" dt="2021-08-27T16:05:33.373" v="3" actId="20577"/>
        <pc:sldMkLst>
          <pc:docMk/>
          <pc:sldMk cId="4145703054" sldId="265"/>
        </pc:sldMkLst>
        <pc:spChg chg="mod">
          <ac:chgData name="Murat Odabasi" userId="S::muratod@microsoft.com::d77b5acb-2443-4df7-b8cb-ac216c1fac5a" providerId="AD" clId="Web-{C647A2FD-1113-21CE-E709-EB57DC5DC146}" dt="2021-08-27T16:05:33.373" v="3" actId="20577"/>
          <ac:spMkLst>
            <pc:docMk/>
            <pc:sldMk cId="4145703054" sldId="265"/>
            <ac:spMk id="15" creationId="{6DAA8F88-5BE5-4DEB-B8E1-CCA52313CEB8}"/>
          </ac:spMkLst>
        </pc:spChg>
      </pc:sldChg>
    </pc:docChg>
  </pc:docChgLst>
  <pc:docChgLst>
    <pc:chgData name="Murat Odabasi" userId="S::muratod@microsoft.com::d77b5acb-2443-4df7-b8cb-ac216c1fac5a" providerId="AD" clId="Web-{5A276105-813B-E576-863E-CFA5186DB1E5}"/>
    <pc:docChg chg="modSld">
      <pc:chgData name="Murat Odabasi" userId="S::muratod@microsoft.com::d77b5acb-2443-4df7-b8cb-ac216c1fac5a" providerId="AD" clId="Web-{5A276105-813B-E576-863E-CFA5186DB1E5}" dt="2020-04-08T18:17:50.984" v="2" actId="20577"/>
      <pc:docMkLst>
        <pc:docMk/>
      </pc:docMkLst>
      <pc:sldChg chg="modSp">
        <pc:chgData name="Murat Odabasi" userId="S::muratod@microsoft.com::d77b5acb-2443-4df7-b8cb-ac216c1fac5a" providerId="AD" clId="Web-{5A276105-813B-E576-863E-CFA5186DB1E5}" dt="2020-04-08T18:17:49.063" v="0" actId="20577"/>
        <pc:sldMkLst>
          <pc:docMk/>
          <pc:sldMk cId="1732864890" sldId="260"/>
        </pc:sldMkLst>
        <pc:spChg chg="mod">
          <ac:chgData name="Murat Odabasi" userId="S::muratod@microsoft.com::d77b5acb-2443-4df7-b8cb-ac216c1fac5a" providerId="AD" clId="Web-{5A276105-813B-E576-863E-CFA5186DB1E5}" dt="2020-04-08T18:17:49.063" v="0" actId="20577"/>
          <ac:spMkLst>
            <pc:docMk/>
            <pc:sldMk cId="1732864890" sldId="260"/>
            <ac:spMk id="4" creationId="{3BDD850C-29B9-4641-B580-0B91B9EBAE00}"/>
          </ac:spMkLst>
        </pc:spChg>
      </pc:sldChg>
    </pc:docChg>
  </pc:docChgLst>
  <pc:docChgLst>
    <pc:chgData name="Moris Montejo" userId="S::morismontejo@microsoft.com::55e843e1-b95f-4cc0-a457-c4d5fafa72c5" providerId="AD" clId="Web-{8BBDA013-3158-4050-AD69-F0F5D1494E7D}"/>
    <pc:docChg chg="modSld">
      <pc:chgData name="Moris Montejo" userId="S::morismontejo@microsoft.com::55e843e1-b95f-4cc0-a457-c4d5fafa72c5" providerId="AD" clId="Web-{8BBDA013-3158-4050-AD69-F0F5D1494E7D}" dt="2023-02-10T16:09:50.321" v="6" actId="20577"/>
      <pc:docMkLst>
        <pc:docMk/>
      </pc:docMkLst>
      <pc:sldChg chg="addSp delSp modSp">
        <pc:chgData name="Moris Montejo" userId="S::morismontejo@microsoft.com::55e843e1-b95f-4cc0-a457-c4d5fafa72c5" providerId="AD" clId="Web-{8BBDA013-3158-4050-AD69-F0F5D1494E7D}" dt="2023-02-10T16:08:58.148" v="1"/>
        <pc:sldMkLst>
          <pc:docMk/>
          <pc:sldMk cId="170592624" sldId="270"/>
        </pc:sldMkLst>
        <pc:spChg chg="add del mod">
          <ac:chgData name="Moris Montejo" userId="S::morismontejo@microsoft.com::55e843e1-b95f-4cc0-a457-c4d5fafa72c5" providerId="AD" clId="Web-{8BBDA013-3158-4050-AD69-F0F5D1494E7D}" dt="2023-02-10T16:08:58.148" v="1"/>
          <ac:spMkLst>
            <pc:docMk/>
            <pc:sldMk cId="170592624" sldId="270"/>
            <ac:spMk id="5" creationId="{B24E284C-CBA9-7787-158D-FBC82BC0079F}"/>
          </ac:spMkLst>
        </pc:spChg>
        <pc:spChg chg="del">
          <ac:chgData name="Moris Montejo" userId="S::morismontejo@microsoft.com::55e843e1-b95f-4cc0-a457-c4d5fafa72c5" providerId="AD" clId="Web-{8BBDA013-3158-4050-AD69-F0F5D1494E7D}" dt="2023-02-10T16:08:54.945" v="0"/>
          <ac:spMkLst>
            <pc:docMk/>
            <pc:sldMk cId="170592624" sldId="270"/>
            <ac:spMk id="12" creationId="{C4226080-F4D3-473F-8324-DFB4ADA600CB}"/>
          </ac:spMkLst>
        </pc:spChg>
      </pc:sldChg>
      <pc:sldChg chg="delSp">
        <pc:chgData name="Moris Montejo" userId="S::morismontejo@microsoft.com::55e843e1-b95f-4cc0-a457-c4d5fafa72c5" providerId="AD" clId="Web-{8BBDA013-3158-4050-AD69-F0F5D1494E7D}" dt="2023-02-10T16:09:07.070" v="2"/>
        <pc:sldMkLst>
          <pc:docMk/>
          <pc:sldMk cId="4247279136" sldId="271"/>
        </pc:sldMkLst>
        <pc:spChg chg="del">
          <ac:chgData name="Moris Montejo" userId="S::morismontejo@microsoft.com::55e843e1-b95f-4cc0-a457-c4d5fafa72c5" providerId="AD" clId="Web-{8BBDA013-3158-4050-AD69-F0F5D1494E7D}" dt="2023-02-10T16:09:07.070" v="2"/>
          <ac:spMkLst>
            <pc:docMk/>
            <pc:sldMk cId="4247279136" sldId="271"/>
            <ac:spMk id="12" creationId="{C4226080-F4D3-473F-8324-DFB4ADA600CB}"/>
          </ac:spMkLst>
        </pc:spChg>
      </pc:sldChg>
      <pc:sldChg chg="delSp">
        <pc:chgData name="Moris Montejo" userId="S::morismontejo@microsoft.com::55e843e1-b95f-4cc0-a457-c4d5fafa72c5" providerId="AD" clId="Web-{8BBDA013-3158-4050-AD69-F0F5D1494E7D}" dt="2023-02-10T16:09:18.445" v="4"/>
        <pc:sldMkLst>
          <pc:docMk/>
          <pc:sldMk cId="371621434" sldId="273"/>
        </pc:sldMkLst>
        <pc:spChg chg="del">
          <ac:chgData name="Moris Montejo" userId="S::morismontejo@microsoft.com::55e843e1-b95f-4cc0-a457-c4d5fafa72c5" providerId="AD" clId="Web-{8BBDA013-3158-4050-AD69-F0F5D1494E7D}" dt="2023-02-10T16:09:18.445" v="4"/>
          <ac:spMkLst>
            <pc:docMk/>
            <pc:sldMk cId="371621434" sldId="273"/>
            <ac:spMk id="12" creationId="{C4226080-F4D3-473F-8324-DFB4ADA600CB}"/>
          </ac:spMkLst>
        </pc:spChg>
      </pc:sldChg>
      <pc:sldChg chg="delSp">
        <pc:chgData name="Moris Montejo" userId="S::morismontejo@microsoft.com::55e843e1-b95f-4cc0-a457-c4d5fafa72c5" providerId="AD" clId="Web-{8BBDA013-3158-4050-AD69-F0F5D1494E7D}" dt="2023-02-10T16:09:13.758" v="3"/>
        <pc:sldMkLst>
          <pc:docMk/>
          <pc:sldMk cId="3856454875" sldId="274"/>
        </pc:sldMkLst>
        <pc:spChg chg="del">
          <ac:chgData name="Moris Montejo" userId="S::morismontejo@microsoft.com::55e843e1-b95f-4cc0-a457-c4d5fafa72c5" providerId="AD" clId="Web-{8BBDA013-3158-4050-AD69-F0F5D1494E7D}" dt="2023-02-10T16:09:13.758" v="3"/>
          <ac:spMkLst>
            <pc:docMk/>
            <pc:sldMk cId="3856454875" sldId="274"/>
            <ac:spMk id="12" creationId="{C4226080-F4D3-473F-8324-DFB4ADA600CB}"/>
          </ac:spMkLst>
        </pc:spChg>
      </pc:sldChg>
      <pc:sldChg chg="modSp">
        <pc:chgData name="Moris Montejo" userId="S::morismontejo@microsoft.com::55e843e1-b95f-4cc0-a457-c4d5fafa72c5" providerId="AD" clId="Web-{8BBDA013-3158-4050-AD69-F0F5D1494E7D}" dt="2023-02-10T16:09:50.321" v="6" actId="20577"/>
        <pc:sldMkLst>
          <pc:docMk/>
          <pc:sldMk cId="1025687829" sldId="287"/>
        </pc:sldMkLst>
        <pc:spChg chg="mod">
          <ac:chgData name="Moris Montejo" userId="S::morismontejo@microsoft.com::55e843e1-b95f-4cc0-a457-c4d5fafa72c5" providerId="AD" clId="Web-{8BBDA013-3158-4050-AD69-F0F5D1494E7D}" dt="2023-02-10T16:09:46.681" v="5" actId="20577"/>
          <ac:spMkLst>
            <pc:docMk/>
            <pc:sldMk cId="1025687829" sldId="287"/>
            <ac:spMk id="2" creationId="{E0DCCC6D-05C4-4092-8C9D-AA0D46C1A281}"/>
          </ac:spMkLst>
        </pc:spChg>
        <pc:spChg chg="mod">
          <ac:chgData name="Moris Montejo" userId="S::morismontejo@microsoft.com::55e843e1-b95f-4cc0-a457-c4d5fafa72c5" providerId="AD" clId="Web-{8BBDA013-3158-4050-AD69-F0F5D1494E7D}" dt="2023-02-10T16:09:50.321" v="6" actId="20577"/>
          <ac:spMkLst>
            <pc:docMk/>
            <pc:sldMk cId="1025687829" sldId="287"/>
            <ac:spMk id="9" creationId="{C0A47C0B-6462-4AB4-98B4-59786C499D03}"/>
          </ac:spMkLst>
        </pc:spChg>
      </pc:sldChg>
    </pc:docChg>
  </pc:docChgLst>
  <pc:docChgLst>
    <pc:chgData name="Moris Montejo" userId="S::morismontejo@microsoft.com::55e843e1-b95f-4cc0-a457-c4d5fafa72c5" providerId="AD" clId="Web-{D463EA45-FCF9-4CF9-AF40-406464F3FDCF}"/>
    <pc:docChg chg="mod modMainMaster">
      <pc:chgData name="Moris Montejo" userId="S::morismontejo@microsoft.com::55e843e1-b95f-4cc0-a457-c4d5fafa72c5" providerId="AD" clId="Web-{D463EA45-FCF9-4CF9-AF40-406464F3FDCF}" dt="2023-05-03T19:16:26.238" v="1" actId="33475"/>
      <pc:docMkLst>
        <pc:docMk/>
      </pc:docMkLst>
      <pc:sldMasterChg chg="addSp">
        <pc:chgData name="Moris Montejo" userId="S::morismontejo@microsoft.com::55e843e1-b95f-4cc0-a457-c4d5fafa72c5" providerId="AD" clId="Web-{D463EA45-FCF9-4CF9-AF40-406464F3FDCF}" dt="2023-05-03T19:16:26.238" v="0" actId="33475"/>
        <pc:sldMasterMkLst>
          <pc:docMk/>
          <pc:sldMasterMk cId="3138866671" sldId="2147483990"/>
        </pc:sldMasterMkLst>
        <pc:spChg chg="add">
          <ac:chgData name="Moris Montejo" userId="S::morismontejo@microsoft.com::55e843e1-b95f-4cc0-a457-c4d5fafa72c5" providerId="AD" clId="Web-{D463EA45-FCF9-4CF9-AF40-406464F3FDCF}" dt="2023-05-03T19:16:26.238" v="0" actId="33475"/>
          <ac:spMkLst>
            <pc:docMk/>
            <pc:sldMasterMk cId="3138866671" sldId="2147483990"/>
            <ac:spMk id="5" creationId="{5084C845-866A-3D2D-388B-2365D3F6CC7D}"/>
          </ac:spMkLst>
        </pc:spChg>
      </pc:sldMasterChg>
    </pc:docChg>
  </pc:docChgLst>
  <pc:docChgLst>
    <pc:chgData name="Devid Treuling" userId="59319ebe-00e0-4bed-b2ef-326bd7e50483" providerId="ADAL" clId="{BD9B40A7-68D7-46EB-BCC5-757646F2802A}"/>
    <pc:docChg chg="custSel addSld delSld modSld delMainMaster modMainMaster">
      <pc:chgData name="Devid Treuling" userId="59319ebe-00e0-4bed-b2ef-326bd7e50483" providerId="ADAL" clId="{BD9B40A7-68D7-46EB-BCC5-757646F2802A}" dt="2020-03-30T15:46:31.081" v="178" actId="2696"/>
      <pc:docMkLst>
        <pc:docMk/>
      </pc:docMkLst>
      <pc:sldChg chg="modSp modTransition">
        <pc:chgData name="Devid Treuling" userId="59319ebe-00e0-4bed-b2ef-326bd7e50483" providerId="ADAL" clId="{BD9B40A7-68D7-46EB-BCC5-757646F2802A}" dt="2020-03-30T15:46:30.955" v="95"/>
        <pc:sldMkLst>
          <pc:docMk/>
          <pc:sldMk cId="2181956486" sldId="256"/>
        </pc:sldMkLst>
        <pc:spChg chg="mod">
          <ac:chgData name="Devid Treuling" userId="59319ebe-00e0-4bed-b2ef-326bd7e50483" providerId="ADAL" clId="{BD9B40A7-68D7-46EB-BCC5-757646F2802A}" dt="2020-03-30T15:46:30.449" v="2"/>
          <ac:spMkLst>
            <pc:docMk/>
            <pc:sldMk cId="2181956486" sldId="256"/>
            <ac:spMk id="4" creationId="{00000000-0000-0000-0000-000000000000}"/>
          </ac:spMkLst>
        </pc:spChg>
        <pc:spChg chg="mod">
          <ac:chgData name="Devid Treuling" userId="59319ebe-00e0-4bed-b2ef-326bd7e50483" providerId="ADAL" clId="{BD9B40A7-68D7-46EB-BCC5-757646F2802A}" dt="2020-03-30T15:46:30.449" v="2"/>
          <ac:spMkLst>
            <pc:docMk/>
            <pc:sldMk cId="2181956486" sldId="256"/>
            <ac:spMk id="6" creationId="{12808BD5-6BEE-4164-9264-E55A823F2E3D}"/>
          </ac:spMkLst>
        </pc:spChg>
        <pc:picChg chg="mod">
          <ac:chgData name="Devid Treuling" userId="59319ebe-00e0-4bed-b2ef-326bd7e50483" providerId="ADAL" clId="{BD9B40A7-68D7-46EB-BCC5-757646F2802A}" dt="2020-03-30T15:46:30.449" v="2"/>
          <ac:picMkLst>
            <pc:docMk/>
            <pc:sldMk cId="2181956486" sldId="256"/>
            <ac:picMk id="8" creationId="{DEBB7B6C-5800-4217-A7DA-4983C5C30F7A}"/>
          </ac:picMkLst>
        </pc:picChg>
      </pc:sldChg>
      <pc:sldChg chg="modTransition">
        <pc:chgData name="Devid Treuling" userId="59319ebe-00e0-4bed-b2ef-326bd7e50483" providerId="ADAL" clId="{BD9B40A7-68D7-46EB-BCC5-757646F2802A}" dt="2020-03-30T15:46:30.958" v="100"/>
        <pc:sldMkLst>
          <pc:docMk/>
          <pc:sldMk cId="2242852715" sldId="257"/>
        </pc:sldMkLst>
      </pc:sldChg>
      <pc:sldChg chg="modSp modTransition">
        <pc:chgData name="Devid Treuling" userId="59319ebe-00e0-4bed-b2ef-326bd7e50483" providerId="ADAL" clId="{BD9B40A7-68D7-46EB-BCC5-757646F2802A}" dt="2020-03-30T15:46:30.961" v="105"/>
        <pc:sldMkLst>
          <pc:docMk/>
          <pc:sldMk cId="3001679096" sldId="258"/>
        </pc:sldMkLst>
        <pc:spChg chg="mod">
          <ac:chgData name="Devid Treuling" userId="59319ebe-00e0-4bed-b2ef-326bd7e50483" providerId="ADAL" clId="{BD9B40A7-68D7-46EB-BCC5-757646F2802A}" dt="2020-03-30T15:46:30.449" v="2"/>
          <ac:spMkLst>
            <pc:docMk/>
            <pc:sldMk cId="3001679096" sldId="258"/>
            <ac:spMk id="2" creationId="{0D571322-9F37-477D-9B5B-EBF49D8B1DE4}"/>
          </ac:spMkLst>
        </pc:spChg>
        <pc:spChg chg="mod">
          <ac:chgData name="Devid Treuling" userId="59319ebe-00e0-4bed-b2ef-326bd7e50483" providerId="ADAL" clId="{BD9B40A7-68D7-46EB-BCC5-757646F2802A}" dt="2020-03-30T15:46:30.449" v="2"/>
          <ac:spMkLst>
            <pc:docMk/>
            <pc:sldMk cId="3001679096" sldId="258"/>
            <ac:spMk id="3" creationId="{355F4707-2382-4D2B-8385-1E54F39F514C}"/>
          </ac:spMkLst>
        </pc:spChg>
      </pc:sldChg>
      <pc:sldChg chg="modSp modTransition">
        <pc:chgData name="Devid Treuling" userId="59319ebe-00e0-4bed-b2ef-326bd7e50483" providerId="ADAL" clId="{BD9B40A7-68D7-46EB-BCC5-757646F2802A}" dt="2020-03-30T15:46:30.964" v="110"/>
        <pc:sldMkLst>
          <pc:docMk/>
          <pc:sldMk cId="1635881331" sldId="259"/>
        </pc:sldMkLst>
        <pc:spChg chg="mod">
          <ac:chgData name="Devid Treuling" userId="59319ebe-00e0-4bed-b2ef-326bd7e50483" providerId="ADAL" clId="{BD9B40A7-68D7-46EB-BCC5-757646F2802A}" dt="2020-03-30T15:46:30.449" v="2"/>
          <ac:spMkLst>
            <pc:docMk/>
            <pc:sldMk cId="1635881331" sldId="259"/>
            <ac:spMk id="5" creationId="{27132E6D-A6EE-402B-895A-D0B053AB702A}"/>
          </ac:spMkLst>
        </pc:spChg>
      </pc:sldChg>
      <pc:sldChg chg="modSp modTransition">
        <pc:chgData name="Devid Treuling" userId="59319ebe-00e0-4bed-b2ef-326bd7e50483" providerId="ADAL" clId="{BD9B40A7-68D7-46EB-BCC5-757646F2802A}" dt="2020-03-30T15:46:30.967" v="115"/>
        <pc:sldMkLst>
          <pc:docMk/>
          <pc:sldMk cId="1732864890" sldId="260"/>
        </pc:sldMkLst>
        <pc:spChg chg="mod">
          <ac:chgData name="Devid Treuling" userId="59319ebe-00e0-4bed-b2ef-326bd7e50483" providerId="ADAL" clId="{BD9B40A7-68D7-46EB-BCC5-757646F2802A}" dt="2020-03-30T15:46:30.449" v="2"/>
          <ac:spMkLst>
            <pc:docMk/>
            <pc:sldMk cId="1732864890" sldId="260"/>
            <ac:spMk id="4" creationId="{3BDD850C-29B9-4641-B580-0B91B9EBAE00}"/>
          </ac:spMkLst>
        </pc:spChg>
        <pc:spChg chg="mod">
          <ac:chgData name="Devid Treuling" userId="59319ebe-00e0-4bed-b2ef-326bd7e50483" providerId="ADAL" clId="{BD9B40A7-68D7-46EB-BCC5-757646F2802A}" dt="2020-03-30T15:46:30.449" v="2"/>
          <ac:spMkLst>
            <pc:docMk/>
            <pc:sldMk cId="1732864890" sldId="260"/>
            <ac:spMk id="5" creationId="{55182462-DFDF-4D48-A92C-42FD52821C4E}"/>
          </ac:spMkLst>
        </pc:spChg>
        <pc:spChg chg="mod">
          <ac:chgData name="Devid Treuling" userId="59319ebe-00e0-4bed-b2ef-326bd7e50483" providerId="ADAL" clId="{BD9B40A7-68D7-46EB-BCC5-757646F2802A}" dt="2020-03-30T15:46:30.449" v="2"/>
          <ac:spMkLst>
            <pc:docMk/>
            <pc:sldMk cId="1732864890" sldId="260"/>
            <ac:spMk id="7" creationId="{D26C7312-6643-4F44-86B4-FA64F536177B}"/>
          </ac:spMkLst>
        </pc:spChg>
      </pc:sldChg>
      <pc:sldChg chg="modSp modTransition">
        <pc:chgData name="Devid Treuling" userId="59319ebe-00e0-4bed-b2ef-326bd7e50483" providerId="ADAL" clId="{BD9B40A7-68D7-46EB-BCC5-757646F2802A}" dt="2020-03-30T15:46:30.969" v="120"/>
        <pc:sldMkLst>
          <pc:docMk/>
          <pc:sldMk cId="914707366" sldId="261"/>
        </pc:sldMkLst>
        <pc:spChg chg="mod">
          <ac:chgData name="Devid Treuling" userId="59319ebe-00e0-4bed-b2ef-326bd7e50483" providerId="ADAL" clId="{BD9B40A7-68D7-46EB-BCC5-757646F2802A}" dt="2020-03-30T15:46:30.449" v="2"/>
          <ac:spMkLst>
            <pc:docMk/>
            <pc:sldMk cId="914707366" sldId="261"/>
            <ac:spMk id="2" creationId="{00000000-0000-0000-0000-000000000000}"/>
          </ac:spMkLst>
        </pc:spChg>
        <pc:spChg chg="mod">
          <ac:chgData name="Devid Treuling" userId="59319ebe-00e0-4bed-b2ef-326bd7e50483" providerId="ADAL" clId="{BD9B40A7-68D7-46EB-BCC5-757646F2802A}" dt="2020-03-30T15:46:30.449" v="2"/>
          <ac:spMkLst>
            <pc:docMk/>
            <pc:sldMk cId="914707366" sldId="261"/>
            <ac:spMk id="3" creationId="{00000000-0000-0000-0000-000000000000}"/>
          </ac:spMkLst>
        </pc:spChg>
        <pc:spChg chg="mod">
          <ac:chgData name="Devid Treuling" userId="59319ebe-00e0-4bed-b2ef-326bd7e50483" providerId="ADAL" clId="{BD9B40A7-68D7-46EB-BCC5-757646F2802A}" dt="2020-03-30T15:46:30.449" v="2"/>
          <ac:spMkLst>
            <pc:docMk/>
            <pc:sldMk cId="914707366" sldId="261"/>
            <ac:spMk id="12" creationId="{C4226080-F4D3-473F-8324-DFB4ADA600CB}"/>
          </ac:spMkLst>
        </pc:spChg>
      </pc:sldChg>
      <pc:sldChg chg="modSp modTransition">
        <pc:chgData name="Devid Treuling" userId="59319ebe-00e0-4bed-b2ef-326bd7e50483" providerId="ADAL" clId="{BD9B40A7-68D7-46EB-BCC5-757646F2802A}" dt="2020-03-30T15:46:30.972" v="125"/>
        <pc:sldMkLst>
          <pc:docMk/>
          <pc:sldMk cId="2379444036" sldId="262"/>
        </pc:sldMkLst>
        <pc:spChg chg="mod">
          <ac:chgData name="Devid Treuling" userId="59319ebe-00e0-4bed-b2ef-326bd7e50483" providerId="ADAL" clId="{BD9B40A7-68D7-46EB-BCC5-757646F2802A}" dt="2020-03-30T15:46:30.449" v="2"/>
          <ac:spMkLst>
            <pc:docMk/>
            <pc:sldMk cId="2379444036" sldId="262"/>
            <ac:spMk id="4" creationId="{9CBC6F63-616D-478D-A91D-8B071350BF64}"/>
          </ac:spMkLst>
        </pc:spChg>
      </pc:sldChg>
      <pc:sldChg chg="modSp modTransition">
        <pc:chgData name="Devid Treuling" userId="59319ebe-00e0-4bed-b2ef-326bd7e50483" providerId="ADAL" clId="{BD9B40A7-68D7-46EB-BCC5-757646F2802A}" dt="2020-03-30T15:46:30.977" v="130"/>
        <pc:sldMkLst>
          <pc:docMk/>
          <pc:sldMk cId="1385431110" sldId="263"/>
        </pc:sldMkLst>
        <pc:spChg chg="mod">
          <ac:chgData name="Devid Treuling" userId="59319ebe-00e0-4bed-b2ef-326bd7e50483" providerId="ADAL" clId="{BD9B40A7-68D7-46EB-BCC5-757646F2802A}" dt="2020-03-30T15:46:30.449" v="2"/>
          <ac:spMkLst>
            <pc:docMk/>
            <pc:sldMk cId="1385431110" sldId="263"/>
            <ac:spMk id="2" creationId="{E0DCCC6D-05C4-4092-8C9D-AA0D46C1A281}"/>
          </ac:spMkLst>
        </pc:spChg>
        <pc:spChg chg="mod">
          <ac:chgData name="Devid Treuling" userId="59319ebe-00e0-4bed-b2ef-326bd7e50483" providerId="ADAL" clId="{BD9B40A7-68D7-46EB-BCC5-757646F2802A}" dt="2020-03-30T15:46:30.449" v="2"/>
          <ac:spMkLst>
            <pc:docMk/>
            <pc:sldMk cId="1385431110" sldId="263"/>
            <ac:spMk id="3" creationId="{00000000-0000-0000-0000-000000000000}"/>
          </ac:spMkLst>
        </pc:spChg>
      </pc:sldChg>
      <pc:sldChg chg="modSp modTransition">
        <pc:chgData name="Devid Treuling" userId="59319ebe-00e0-4bed-b2ef-326bd7e50483" providerId="ADAL" clId="{BD9B40A7-68D7-46EB-BCC5-757646F2802A}" dt="2020-03-30T15:46:30.981" v="135"/>
        <pc:sldMkLst>
          <pc:docMk/>
          <pc:sldMk cId="3996308554" sldId="264"/>
        </pc:sldMkLst>
        <pc:spChg chg="mod">
          <ac:chgData name="Devid Treuling" userId="59319ebe-00e0-4bed-b2ef-326bd7e50483" providerId="ADAL" clId="{BD9B40A7-68D7-46EB-BCC5-757646F2802A}" dt="2020-03-30T15:46:30.449" v="2"/>
          <ac:spMkLst>
            <pc:docMk/>
            <pc:sldMk cId="3996308554" sldId="264"/>
            <ac:spMk id="3" creationId="{8F64A22E-2B43-4FC6-AF08-0CDB3F9E9269}"/>
          </ac:spMkLst>
        </pc:spChg>
        <pc:spChg chg="mod">
          <ac:chgData name="Devid Treuling" userId="59319ebe-00e0-4bed-b2ef-326bd7e50483" providerId="ADAL" clId="{BD9B40A7-68D7-46EB-BCC5-757646F2802A}" dt="2020-03-30T15:46:30.449" v="2"/>
          <ac:spMkLst>
            <pc:docMk/>
            <pc:sldMk cId="3996308554" sldId="264"/>
            <ac:spMk id="7" creationId="{B0504AD0-36BB-4D91-BEB6-18A5CDC8B4E0}"/>
          </ac:spMkLst>
        </pc:spChg>
        <pc:picChg chg="mod">
          <ac:chgData name="Devid Treuling" userId="59319ebe-00e0-4bed-b2ef-326bd7e50483" providerId="ADAL" clId="{BD9B40A7-68D7-46EB-BCC5-757646F2802A}" dt="2020-03-30T15:46:30.449" v="2"/>
          <ac:picMkLst>
            <pc:docMk/>
            <pc:sldMk cId="3996308554" sldId="264"/>
            <ac:picMk id="16" creationId="{F27CF966-34DA-4658-8DA3-65A171614831}"/>
          </ac:picMkLst>
        </pc:picChg>
      </pc:sldChg>
      <pc:sldChg chg="modSp modTransition">
        <pc:chgData name="Devid Treuling" userId="59319ebe-00e0-4bed-b2ef-326bd7e50483" providerId="ADAL" clId="{BD9B40A7-68D7-46EB-BCC5-757646F2802A}" dt="2020-03-30T15:46:30.984" v="140"/>
        <pc:sldMkLst>
          <pc:docMk/>
          <pc:sldMk cId="4145703054" sldId="265"/>
        </pc:sldMkLst>
        <pc:spChg chg="mod">
          <ac:chgData name="Devid Treuling" userId="59319ebe-00e0-4bed-b2ef-326bd7e50483" providerId="ADAL" clId="{BD9B40A7-68D7-46EB-BCC5-757646F2802A}" dt="2020-03-30T15:46:30.449" v="2"/>
          <ac:spMkLst>
            <pc:docMk/>
            <pc:sldMk cId="4145703054" sldId="265"/>
            <ac:spMk id="2" creationId="{4615BB0C-211A-4A6B-A4FE-D9C725309C49}"/>
          </ac:spMkLst>
        </pc:spChg>
        <pc:spChg chg="mod">
          <ac:chgData name="Devid Treuling" userId="59319ebe-00e0-4bed-b2ef-326bd7e50483" providerId="ADAL" clId="{BD9B40A7-68D7-46EB-BCC5-757646F2802A}" dt="2020-03-30T15:46:30.449" v="2"/>
          <ac:spMkLst>
            <pc:docMk/>
            <pc:sldMk cId="4145703054" sldId="265"/>
            <ac:spMk id="15" creationId="{6DAA8F88-5BE5-4DEB-B8E1-CCA52313CEB8}"/>
          </ac:spMkLst>
        </pc:spChg>
        <pc:picChg chg="mod">
          <ac:chgData name="Devid Treuling" userId="59319ebe-00e0-4bed-b2ef-326bd7e50483" providerId="ADAL" clId="{BD9B40A7-68D7-46EB-BCC5-757646F2802A}" dt="2020-03-30T15:46:30.449" v="2"/>
          <ac:picMkLst>
            <pc:docMk/>
            <pc:sldMk cId="4145703054" sldId="265"/>
            <ac:picMk id="36" creationId="{E609CE4D-9188-4CF4-804D-5F16F38688F4}"/>
          </ac:picMkLst>
        </pc:picChg>
      </pc:sldChg>
      <pc:sldChg chg="modSp modTransition">
        <pc:chgData name="Devid Treuling" userId="59319ebe-00e0-4bed-b2ef-326bd7e50483" providerId="ADAL" clId="{BD9B40A7-68D7-46EB-BCC5-757646F2802A}" dt="2020-03-30T15:46:30.988" v="145"/>
        <pc:sldMkLst>
          <pc:docMk/>
          <pc:sldMk cId="3977638465" sldId="266"/>
        </pc:sldMkLst>
        <pc:spChg chg="mod">
          <ac:chgData name="Devid Treuling" userId="59319ebe-00e0-4bed-b2ef-326bd7e50483" providerId="ADAL" clId="{BD9B40A7-68D7-46EB-BCC5-757646F2802A}" dt="2020-03-30T15:46:30.449" v="2"/>
          <ac:spMkLst>
            <pc:docMk/>
            <pc:sldMk cId="3977638465" sldId="266"/>
            <ac:spMk id="2" creationId="{BC57B38C-8413-4861-A4F5-7DF656AEAD0D}"/>
          </ac:spMkLst>
        </pc:spChg>
        <pc:spChg chg="mod">
          <ac:chgData name="Devid Treuling" userId="59319ebe-00e0-4bed-b2ef-326bd7e50483" providerId="ADAL" clId="{BD9B40A7-68D7-46EB-BCC5-757646F2802A}" dt="2020-03-30T15:46:30.449" v="2"/>
          <ac:spMkLst>
            <pc:docMk/>
            <pc:sldMk cId="3977638465" sldId="266"/>
            <ac:spMk id="10" creationId="{3AEB9F1D-7FAA-4E4F-8117-85F44C19869A}"/>
          </ac:spMkLst>
        </pc:spChg>
        <pc:spChg chg="mod">
          <ac:chgData name="Devid Treuling" userId="59319ebe-00e0-4bed-b2ef-326bd7e50483" providerId="ADAL" clId="{BD9B40A7-68D7-46EB-BCC5-757646F2802A}" dt="2020-03-30T15:46:30.449" v="2"/>
          <ac:spMkLst>
            <pc:docMk/>
            <pc:sldMk cId="3977638465" sldId="266"/>
            <ac:spMk id="11" creationId="{F520343A-4103-4113-8E4D-00C78583B1A1}"/>
          </ac:spMkLst>
        </pc:spChg>
      </pc:sldChg>
      <pc:sldChg chg="modSp modTransition">
        <pc:chgData name="Devid Treuling" userId="59319ebe-00e0-4bed-b2ef-326bd7e50483" providerId="ADAL" clId="{BD9B40A7-68D7-46EB-BCC5-757646F2802A}" dt="2020-03-30T15:46:30.992" v="150"/>
        <pc:sldMkLst>
          <pc:docMk/>
          <pc:sldMk cId="3596592614" sldId="267"/>
        </pc:sldMkLst>
        <pc:spChg chg="mod">
          <ac:chgData name="Devid Treuling" userId="59319ebe-00e0-4bed-b2ef-326bd7e50483" providerId="ADAL" clId="{BD9B40A7-68D7-46EB-BCC5-757646F2802A}" dt="2020-03-30T15:46:30.449" v="2"/>
          <ac:spMkLst>
            <pc:docMk/>
            <pc:sldMk cId="3596592614" sldId="267"/>
            <ac:spMk id="5" creationId="{27132E6D-A6EE-402B-895A-D0B053AB702A}"/>
          </ac:spMkLst>
        </pc:spChg>
      </pc:sldChg>
      <pc:sldChg chg="modSp modTransition">
        <pc:chgData name="Devid Treuling" userId="59319ebe-00e0-4bed-b2ef-326bd7e50483" providerId="ADAL" clId="{BD9B40A7-68D7-46EB-BCC5-757646F2802A}" dt="2020-03-30T15:46:30.995" v="155"/>
        <pc:sldMkLst>
          <pc:docMk/>
          <pc:sldMk cId="2843332786" sldId="268"/>
        </pc:sldMkLst>
        <pc:spChg chg="mod">
          <ac:chgData name="Devid Treuling" userId="59319ebe-00e0-4bed-b2ef-326bd7e50483" providerId="ADAL" clId="{BD9B40A7-68D7-46EB-BCC5-757646F2802A}" dt="2020-03-30T15:46:30.449" v="2"/>
          <ac:spMkLst>
            <pc:docMk/>
            <pc:sldMk cId="2843332786" sldId="268"/>
            <ac:spMk id="2" creationId="{E0DCCC6D-05C4-4092-8C9D-AA0D46C1A281}"/>
          </ac:spMkLst>
        </pc:spChg>
        <pc:spChg chg="mod">
          <ac:chgData name="Devid Treuling" userId="59319ebe-00e0-4bed-b2ef-326bd7e50483" providerId="ADAL" clId="{BD9B40A7-68D7-46EB-BCC5-757646F2802A}" dt="2020-03-30T15:46:30.449" v="2"/>
          <ac:spMkLst>
            <pc:docMk/>
            <pc:sldMk cId="2843332786" sldId="268"/>
            <ac:spMk id="3" creationId="{00000000-0000-0000-0000-000000000000}"/>
          </ac:spMkLst>
        </pc:spChg>
      </pc:sldChg>
      <pc:sldChg chg="modTransition">
        <pc:chgData name="Devid Treuling" userId="59319ebe-00e0-4bed-b2ef-326bd7e50483" providerId="ADAL" clId="{BD9B40A7-68D7-46EB-BCC5-757646F2802A}" dt="2020-03-30T15:46:30.998" v="160"/>
        <pc:sldMkLst>
          <pc:docMk/>
          <pc:sldMk cId="1094208049" sldId="269"/>
        </pc:sldMkLst>
      </pc:sldChg>
      <pc:sldChg chg="modSp add del modTransition">
        <pc:chgData name="Devid Treuling" userId="59319ebe-00e0-4bed-b2ef-326bd7e50483" providerId="ADAL" clId="{BD9B40A7-68D7-46EB-BCC5-757646F2802A}" dt="2020-03-30T15:46:31.081" v="178" actId="2696"/>
        <pc:sldMkLst>
          <pc:docMk/>
          <pc:sldMk cId="4056762015" sldId="270"/>
        </pc:sldMkLst>
        <pc:spChg chg="mod">
          <ac:chgData name="Devid Treuling" userId="59319ebe-00e0-4bed-b2ef-326bd7e50483" providerId="ADAL" clId="{BD9B40A7-68D7-46EB-BCC5-757646F2802A}" dt="2020-03-30T15:46:30.449" v="2"/>
          <ac:spMkLst>
            <pc:docMk/>
            <pc:sldMk cId="4056762015" sldId="270"/>
            <ac:spMk id="2" creationId="{DDE032E4-AB23-44F4-B872-A5689EF0F28C}"/>
          </ac:spMkLst>
        </pc:spChg>
        <pc:spChg chg="mod">
          <ac:chgData name="Devid Treuling" userId="59319ebe-00e0-4bed-b2ef-326bd7e50483" providerId="ADAL" clId="{BD9B40A7-68D7-46EB-BCC5-757646F2802A}" dt="2020-03-30T15:46:30.449" v="2"/>
          <ac:spMkLst>
            <pc:docMk/>
            <pc:sldMk cId="4056762015" sldId="270"/>
            <ac:spMk id="3" creationId="{4F048C44-0263-46F0-AF53-B441DAB05BEC}"/>
          </ac:spMkLst>
        </pc:spChg>
      </pc:sldChg>
      <pc:sldChg chg="add del">
        <pc:chgData name="Devid Treuling" userId="59319ebe-00e0-4bed-b2ef-326bd7e50483" providerId="ADAL" clId="{BD9B40A7-68D7-46EB-BCC5-757646F2802A}" dt="2020-03-30T15:46:30.758" v="54" actId="2696"/>
        <pc:sldMkLst>
          <pc:docMk/>
          <pc:sldMk cId="24838292" sldId="271"/>
        </pc:sldMkLst>
      </pc:sldChg>
      <pc:sldChg chg="add del">
        <pc:chgData name="Devid Treuling" userId="59319ebe-00e0-4bed-b2ef-326bd7e50483" providerId="ADAL" clId="{BD9B40A7-68D7-46EB-BCC5-757646F2802A}" dt="2020-03-30T15:46:30.654" v="32" actId="2696"/>
        <pc:sldMkLst>
          <pc:docMk/>
          <pc:sldMk cId="26388741" sldId="271"/>
        </pc:sldMkLst>
      </pc:sldChg>
      <pc:sldChg chg="add del">
        <pc:chgData name="Devid Treuling" userId="59319ebe-00e0-4bed-b2ef-326bd7e50483" providerId="ADAL" clId="{BD9B40A7-68D7-46EB-BCC5-757646F2802A}" dt="2020-03-30T15:46:30.873" v="76" actId="2696"/>
        <pc:sldMkLst>
          <pc:docMk/>
          <pc:sldMk cId="174929165" sldId="271"/>
        </pc:sldMkLst>
      </pc:sldChg>
      <pc:sldChg chg="add del">
        <pc:chgData name="Devid Treuling" userId="59319ebe-00e0-4bed-b2ef-326bd7e50483" providerId="ADAL" clId="{BD9B40A7-68D7-46EB-BCC5-757646F2802A}" dt="2020-03-30T15:46:30.580" v="16" actId="2696"/>
        <pc:sldMkLst>
          <pc:docMk/>
          <pc:sldMk cId="209311834" sldId="271"/>
        </pc:sldMkLst>
      </pc:sldChg>
      <pc:sldChg chg="add del">
        <pc:chgData name="Devid Treuling" userId="59319ebe-00e0-4bed-b2ef-326bd7e50483" providerId="ADAL" clId="{BD9B40A7-68D7-46EB-BCC5-757646F2802A}" dt="2020-03-30T15:46:30.692" v="40" actId="2696"/>
        <pc:sldMkLst>
          <pc:docMk/>
          <pc:sldMk cId="383688347" sldId="271"/>
        </pc:sldMkLst>
      </pc:sldChg>
      <pc:sldChg chg="add del">
        <pc:chgData name="Devid Treuling" userId="59319ebe-00e0-4bed-b2ef-326bd7e50483" providerId="ADAL" clId="{BD9B40A7-68D7-46EB-BCC5-757646F2802A}" dt="2020-03-30T15:46:30.739" v="50" actId="2696"/>
        <pc:sldMkLst>
          <pc:docMk/>
          <pc:sldMk cId="537558067" sldId="271"/>
        </pc:sldMkLst>
      </pc:sldChg>
      <pc:sldChg chg="add del">
        <pc:chgData name="Devid Treuling" userId="59319ebe-00e0-4bed-b2ef-326bd7e50483" providerId="ADAL" clId="{BD9B40A7-68D7-46EB-BCC5-757646F2802A}" dt="2020-03-30T15:46:30.607" v="22" actId="2696"/>
        <pc:sldMkLst>
          <pc:docMk/>
          <pc:sldMk cId="585797843" sldId="271"/>
        </pc:sldMkLst>
      </pc:sldChg>
      <pc:sldChg chg="add del">
        <pc:chgData name="Devid Treuling" userId="59319ebe-00e0-4bed-b2ef-326bd7e50483" providerId="ADAL" clId="{BD9B40A7-68D7-46EB-BCC5-757646F2802A}" dt="2020-03-30T15:46:30.931" v="90" actId="2696"/>
        <pc:sldMkLst>
          <pc:docMk/>
          <pc:sldMk cId="600902710" sldId="271"/>
        </pc:sldMkLst>
      </pc:sldChg>
      <pc:sldChg chg="add del">
        <pc:chgData name="Devid Treuling" userId="59319ebe-00e0-4bed-b2ef-326bd7e50483" providerId="ADAL" clId="{BD9B40A7-68D7-46EB-BCC5-757646F2802A}" dt="2020-03-30T15:46:30.529" v="6" actId="2696"/>
        <pc:sldMkLst>
          <pc:docMk/>
          <pc:sldMk cId="615914936" sldId="271"/>
        </pc:sldMkLst>
      </pc:sldChg>
      <pc:sldChg chg="add del">
        <pc:chgData name="Devid Treuling" userId="59319ebe-00e0-4bed-b2ef-326bd7e50483" providerId="ADAL" clId="{BD9B40A7-68D7-46EB-BCC5-757646F2802A}" dt="2020-03-30T15:46:30.646" v="30" actId="2696"/>
        <pc:sldMkLst>
          <pc:docMk/>
          <pc:sldMk cId="812087976" sldId="271"/>
        </pc:sldMkLst>
      </pc:sldChg>
      <pc:sldChg chg="add del">
        <pc:chgData name="Devid Treuling" userId="59319ebe-00e0-4bed-b2ef-326bd7e50483" providerId="ADAL" clId="{BD9B40A7-68D7-46EB-BCC5-757646F2802A}" dt="2020-03-30T15:46:30.748" v="52" actId="2696"/>
        <pc:sldMkLst>
          <pc:docMk/>
          <pc:sldMk cId="812709239" sldId="271"/>
        </pc:sldMkLst>
      </pc:sldChg>
      <pc:sldChg chg="add del">
        <pc:chgData name="Devid Treuling" userId="59319ebe-00e0-4bed-b2ef-326bd7e50483" providerId="ADAL" clId="{BD9B40A7-68D7-46EB-BCC5-757646F2802A}" dt="2020-03-30T15:46:30.801" v="62" actId="2696"/>
        <pc:sldMkLst>
          <pc:docMk/>
          <pc:sldMk cId="816900028" sldId="271"/>
        </pc:sldMkLst>
      </pc:sldChg>
      <pc:sldChg chg="add del">
        <pc:chgData name="Devid Treuling" userId="59319ebe-00e0-4bed-b2ef-326bd7e50483" providerId="ADAL" clId="{BD9B40A7-68D7-46EB-BCC5-757646F2802A}" dt="2020-03-30T15:46:30.882" v="78" actId="2696"/>
        <pc:sldMkLst>
          <pc:docMk/>
          <pc:sldMk cId="836809976" sldId="271"/>
        </pc:sldMkLst>
      </pc:sldChg>
      <pc:sldChg chg="add del">
        <pc:chgData name="Devid Treuling" userId="59319ebe-00e0-4bed-b2ef-326bd7e50483" providerId="ADAL" clId="{BD9B40A7-68D7-46EB-BCC5-757646F2802A}" dt="2020-03-30T15:46:30.772" v="56" actId="2696"/>
        <pc:sldMkLst>
          <pc:docMk/>
          <pc:sldMk cId="938941747" sldId="271"/>
        </pc:sldMkLst>
      </pc:sldChg>
      <pc:sldChg chg="add del">
        <pc:chgData name="Devid Treuling" userId="59319ebe-00e0-4bed-b2ef-326bd7e50483" providerId="ADAL" clId="{BD9B40A7-68D7-46EB-BCC5-757646F2802A}" dt="2020-03-30T15:46:30.708" v="44" actId="2696"/>
        <pc:sldMkLst>
          <pc:docMk/>
          <pc:sldMk cId="988338626" sldId="271"/>
        </pc:sldMkLst>
      </pc:sldChg>
      <pc:sldChg chg="add del">
        <pc:chgData name="Devid Treuling" userId="59319ebe-00e0-4bed-b2ef-326bd7e50483" providerId="ADAL" clId="{BD9B40A7-68D7-46EB-BCC5-757646F2802A}" dt="2020-03-30T15:46:30.728" v="48" actId="2696"/>
        <pc:sldMkLst>
          <pc:docMk/>
          <pc:sldMk cId="1087017851" sldId="271"/>
        </pc:sldMkLst>
      </pc:sldChg>
      <pc:sldChg chg="add del">
        <pc:chgData name="Devid Treuling" userId="59319ebe-00e0-4bed-b2ef-326bd7e50483" providerId="ADAL" clId="{BD9B40A7-68D7-46EB-BCC5-757646F2802A}" dt="2020-03-30T15:46:30.908" v="84" actId="2696"/>
        <pc:sldMkLst>
          <pc:docMk/>
          <pc:sldMk cId="1157402523" sldId="271"/>
        </pc:sldMkLst>
      </pc:sldChg>
      <pc:sldChg chg="add del">
        <pc:chgData name="Devid Treuling" userId="59319ebe-00e0-4bed-b2ef-326bd7e50483" providerId="ADAL" clId="{BD9B40A7-68D7-46EB-BCC5-757646F2802A}" dt="2020-03-30T15:46:30.627" v="26" actId="2696"/>
        <pc:sldMkLst>
          <pc:docMk/>
          <pc:sldMk cId="1293911767" sldId="271"/>
        </pc:sldMkLst>
      </pc:sldChg>
      <pc:sldChg chg="add del">
        <pc:chgData name="Devid Treuling" userId="59319ebe-00e0-4bed-b2ef-326bd7e50483" providerId="ADAL" clId="{BD9B40A7-68D7-46EB-BCC5-757646F2802A}" dt="2020-03-30T15:46:30.864" v="74" actId="2696"/>
        <pc:sldMkLst>
          <pc:docMk/>
          <pc:sldMk cId="1320475389" sldId="271"/>
        </pc:sldMkLst>
      </pc:sldChg>
      <pc:sldChg chg="add del">
        <pc:chgData name="Devid Treuling" userId="59319ebe-00e0-4bed-b2ef-326bd7e50483" providerId="ADAL" clId="{BD9B40A7-68D7-46EB-BCC5-757646F2802A}" dt="2020-03-30T15:46:30.892" v="80" actId="2696"/>
        <pc:sldMkLst>
          <pc:docMk/>
          <pc:sldMk cId="1602195139" sldId="271"/>
        </pc:sldMkLst>
      </pc:sldChg>
      <pc:sldChg chg="add del">
        <pc:chgData name="Devid Treuling" userId="59319ebe-00e0-4bed-b2ef-326bd7e50483" providerId="ADAL" clId="{BD9B40A7-68D7-46EB-BCC5-757646F2802A}" dt="2020-03-30T15:46:30.922" v="88" actId="2696"/>
        <pc:sldMkLst>
          <pc:docMk/>
          <pc:sldMk cId="1629968483" sldId="271"/>
        </pc:sldMkLst>
      </pc:sldChg>
      <pc:sldChg chg="add del">
        <pc:chgData name="Devid Treuling" userId="59319ebe-00e0-4bed-b2ef-326bd7e50483" providerId="ADAL" clId="{BD9B40A7-68D7-46EB-BCC5-757646F2802A}" dt="2020-03-30T15:46:30.675" v="36" actId="2696"/>
        <pc:sldMkLst>
          <pc:docMk/>
          <pc:sldMk cId="1821932808" sldId="271"/>
        </pc:sldMkLst>
      </pc:sldChg>
      <pc:sldChg chg="add del">
        <pc:chgData name="Devid Treuling" userId="59319ebe-00e0-4bed-b2ef-326bd7e50483" providerId="ADAL" clId="{BD9B40A7-68D7-46EB-BCC5-757646F2802A}" dt="2020-03-30T15:46:30.847" v="70" actId="2696"/>
        <pc:sldMkLst>
          <pc:docMk/>
          <pc:sldMk cId="1831128011" sldId="271"/>
        </pc:sldMkLst>
      </pc:sldChg>
      <pc:sldChg chg="add del">
        <pc:chgData name="Devid Treuling" userId="59319ebe-00e0-4bed-b2ef-326bd7e50483" providerId="ADAL" clId="{BD9B40A7-68D7-46EB-BCC5-757646F2802A}" dt="2020-03-30T15:46:30.836" v="68" actId="2696"/>
        <pc:sldMkLst>
          <pc:docMk/>
          <pc:sldMk cId="1874944387" sldId="271"/>
        </pc:sldMkLst>
      </pc:sldChg>
      <pc:sldChg chg="add del">
        <pc:chgData name="Devid Treuling" userId="59319ebe-00e0-4bed-b2ef-326bd7e50483" providerId="ADAL" clId="{BD9B40A7-68D7-46EB-BCC5-757646F2802A}" dt="2020-03-30T15:46:30.812" v="64" actId="2696"/>
        <pc:sldMkLst>
          <pc:docMk/>
          <pc:sldMk cId="1987639521" sldId="271"/>
        </pc:sldMkLst>
      </pc:sldChg>
      <pc:sldChg chg="add del">
        <pc:chgData name="Devid Treuling" userId="59319ebe-00e0-4bed-b2ef-326bd7e50483" providerId="ADAL" clId="{BD9B40A7-68D7-46EB-BCC5-757646F2802A}" dt="2020-03-30T15:46:30.717" v="46" actId="2696"/>
        <pc:sldMkLst>
          <pc:docMk/>
          <pc:sldMk cId="2035686724" sldId="271"/>
        </pc:sldMkLst>
      </pc:sldChg>
      <pc:sldChg chg="add del">
        <pc:chgData name="Devid Treuling" userId="59319ebe-00e0-4bed-b2ef-326bd7e50483" providerId="ADAL" clId="{BD9B40A7-68D7-46EB-BCC5-757646F2802A}" dt="2020-03-30T15:46:30.784" v="58" actId="2696"/>
        <pc:sldMkLst>
          <pc:docMk/>
          <pc:sldMk cId="2076686317" sldId="271"/>
        </pc:sldMkLst>
      </pc:sldChg>
      <pc:sldChg chg="add del">
        <pc:chgData name="Devid Treuling" userId="59319ebe-00e0-4bed-b2ef-326bd7e50483" providerId="ADAL" clId="{BD9B40A7-68D7-46EB-BCC5-757646F2802A}" dt="2020-03-30T15:46:30.856" v="72" actId="2696"/>
        <pc:sldMkLst>
          <pc:docMk/>
          <pc:sldMk cId="2184537088" sldId="271"/>
        </pc:sldMkLst>
      </pc:sldChg>
      <pc:sldChg chg="add del">
        <pc:chgData name="Devid Treuling" userId="59319ebe-00e0-4bed-b2ef-326bd7e50483" providerId="ADAL" clId="{BD9B40A7-68D7-46EB-BCC5-757646F2802A}" dt="2020-03-30T15:46:30.538" v="8" actId="2696"/>
        <pc:sldMkLst>
          <pc:docMk/>
          <pc:sldMk cId="2275841987" sldId="271"/>
        </pc:sldMkLst>
      </pc:sldChg>
      <pc:sldChg chg="add del">
        <pc:chgData name="Devid Treuling" userId="59319ebe-00e0-4bed-b2ef-326bd7e50483" providerId="ADAL" clId="{BD9B40A7-68D7-46EB-BCC5-757646F2802A}" dt="2020-03-30T15:46:30.684" v="38" actId="2696"/>
        <pc:sldMkLst>
          <pc:docMk/>
          <pc:sldMk cId="2318140141" sldId="271"/>
        </pc:sldMkLst>
      </pc:sldChg>
      <pc:sldChg chg="add del">
        <pc:chgData name="Devid Treuling" userId="59319ebe-00e0-4bed-b2ef-326bd7e50483" providerId="ADAL" clId="{BD9B40A7-68D7-46EB-BCC5-757646F2802A}" dt="2020-03-30T15:46:30.568" v="14" actId="2696"/>
        <pc:sldMkLst>
          <pc:docMk/>
          <pc:sldMk cId="2463965004" sldId="271"/>
        </pc:sldMkLst>
      </pc:sldChg>
      <pc:sldChg chg="add del">
        <pc:chgData name="Devid Treuling" userId="59319ebe-00e0-4bed-b2ef-326bd7e50483" providerId="ADAL" clId="{BD9B40A7-68D7-46EB-BCC5-757646F2802A}" dt="2020-03-30T15:46:30.598" v="20" actId="2696"/>
        <pc:sldMkLst>
          <pc:docMk/>
          <pc:sldMk cId="2668626736" sldId="271"/>
        </pc:sldMkLst>
      </pc:sldChg>
      <pc:sldChg chg="add del">
        <pc:chgData name="Devid Treuling" userId="59319ebe-00e0-4bed-b2ef-326bd7e50483" providerId="ADAL" clId="{BD9B40A7-68D7-46EB-BCC5-757646F2802A}" dt="2020-03-30T15:46:30.589" v="18" actId="2696"/>
        <pc:sldMkLst>
          <pc:docMk/>
          <pc:sldMk cId="2840747825" sldId="271"/>
        </pc:sldMkLst>
      </pc:sldChg>
      <pc:sldChg chg="add del">
        <pc:chgData name="Devid Treuling" userId="59319ebe-00e0-4bed-b2ef-326bd7e50483" providerId="ADAL" clId="{BD9B40A7-68D7-46EB-BCC5-757646F2802A}" dt="2020-03-30T15:46:30.826" v="66" actId="2696"/>
        <pc:sldMkLst>
          <pc:docMk/>
          <pc:sldMk cId="2911685531" sldId="271"/>
        </pc:sldMkLst>
      </pc:sldChg>
      <pc:sldChg chg="add del">
        <pc:chgData name="Devid Treuling" userId="59319ebe-00e0-4bed-b2ef-326bd7e50483" providerId="ADAL" clId="{BD9B40A7-68D7-46EB-BCC5-757646F2802A}" dt="2020-03-30T15:46:30.549" v="10" actId="2696"/>
        <pc:sldMkLst>
          <pc:docMk/>
          <pc:sldMk cId="3104000793" sldId="271"/>
        </pc:sldMkLst>
      </pc:sldChg>
      <pc:sldChg chg="add del">
        <pc:chgData name="Devid Treuling" userId="59319ebe-00e0-4bed-b2ef-326bd7e50483" providerId="ADAL" clId="{BD9B40A7-68D7-46EB-BCC5-757646F2802A}" dt="2020-03-30T15:46:30.618" v="24" actId="2696"/>
        <pc:sldMkLst>
          <pc:docMk/>
          <pc:sldMk cId="3144523521" sldId="271"/>
        </pc:sldMkLst>
      </pc:sldChg>
      <pc:sldChg chg="add del">
        <pc:chgData name="Devid Treuling" userId="59319ebe-00e0-4bed-b2ef-326bd7e50483" providerId="ADAL" clId="{BD9B40A7-68D7-46EB-BCC5-757646F2802A}" dt="2020-03-30T15:46:30.557" v="12" actId="2696"/>
        <pc:sldMkLst>
          <pc:docMk/>
          <pc:sldMk cId="3448699608" sldId="271"/>
        </pc:sldMkLst>
      </pc:sldChg>
      <pc:sldChg chg="add del">
        <pc:chgData name="Devid Treuling" userId="59319ebe-00e0-4bed-b2ef-326bd7e50483" providerId="ADAL" clId="{BD9B40A7-68D7-46EB-BCC5-757646F2802A}" dt="2020-03-30T15:46:30.519" v="4" actId="2696"/>
        <pc:sldMkLst>
          <pc:docMk/>
          <pc:sldMk cId="3511695746" sldId="271"/>
        </pc:sldMkLst>
      </pc:sldChg>
      <pc:sldChg chg="add del">
        <pc:chgData name="Devid Treuling" userId="59319ebe-00e0-4bed-b2ef-326bd7e50483" providerId="ADAL" clId="{BD9B40A7-68D7-46EB-BCC5-757646F2802A}" dt="2020-03-30T15:46:30.915" v="86" actId="2696"/>
        <pc:sldMkLst>
          <pc:docMk/>
          <pc:sldMk cId="3672178177" sldId="271"/>
        </pc:sldMkLst>
      </pc:sldChg>
      <pc:sldChg chg="add del">
        <pc:chgData name="Devid Treuling" userId="59319ebe-00e0-4bed-b2ef-326bd7e50483" providerId="ADAL" clId="{BD9B40A7-68D7-46EB-BCC5-757646F2802A}" dt="2020-03-30T15:46:30.700" v="42" actId="2696"/>
        <pc:sldMkLst>
          <pc:docMk/>
          <pc:sldMk cId="3777104470" sldId="271"/>
        </pc:sldMkLst>
      </pc:sldChg>
      <pc:sldChg chg="add del">
        <pc:chgData name="Devid Treuling" userId="59319ebe-00e0-4bed-b2ef-326bd7e50483" providerId="ADAL" clId="{BD9B40A7-68D7-46EB-BCC5-757646F2802A}" dt="2020-03-30T15:46:30.793" v="60" actId="2696"/>
        <pc:sldMkLst>
          <pc:docMk/>
          <pc:sldMk cId="3797561267" sldId="271"/>
        </pc:sldMkLst>
      </pc:sldChg>
      <pc:sldChg chg="add del">
        <pc:chgData name="Devid Treuling" userId="59319ebe-00e0-4bed-b2ef-326bd7e50483" providerId="ADAL" clId="{BD9B40A7-68D7-46EB-BCC5-757646F2802A}" dt="2020-03-30T15:46:30.636" v="28" actId="2696"/>
        <pc:sldMkLst>
          <pc:docMk/>
          <pc:sldMk cId="3829243452" sldId="271"/>
        </pc:sldMkLst>
      </pc:sldChg>
      <pc:sldChg chg="add del">
        <pc:chgData name="Devid Treuling" userId="59319ebe-00e0-4bed-b2ef-326bd7e50483" providerId="ADAL" clId="{BD9B40A7-68D7-46EB-BCC5-757646F2802A}" dt="2020-03-30T15:46:30.900" v="82" actId="2696"/>
        <pc:sldMkLst>
          <pc:docMk/>
          <pc:sldMk cId="3932504419" sldId="271"/>
        </pc:sldMkLst>
      </pc:sldChg>
      <pc:sldChg chg="add del">
        <pc:chgData name="Devid Treuling" userId="59319ebe-00e0-4bed-b2ef-326bd7e50483" providerId="ADAL" clId="{BD9B40A7-68D7-46EB-BCC5-757646F2802A}" dt="2020-03-30T15:46:30.665" v="34" actId="2696"/>
        <pc:sldMkLst>
          <pc:docMk/>
          <pc:sldMk cId="4047870704" sldId="271"/>
        </pc:sldMkLst>
      </pc:sldChg>
      <pc:sldMasterChg chg="addSp modSp del delSldLayout">
        <pc:chgData name="Devid Treuling" userId="59319ebe-00e0-4bed-b2ef-326bd7e50483" providerId="ADAL" clId="{BD9B40A7-68D7-46EB-BCC5-757646F2802A}" dt="2020-03-30T15:46:31.076" v="177" actId="2696"/>
        <pc:sldMasterMkLst>
          <pc:docMk/>
          <pc:sldMasterMk cId="148385369" sldId="2147483807"/>
        </pc:sldMasterMkLst>
        <pc:spChg chg="add mod">
          <ac:chgData name="Devid Treuling" userId="59319ebe-00e0-4bed-b2ef-326bd7e50483" providerId="ADAL" clId="{BD9B40A7-68D7-46EB-BCC5-757646F2802A}" dt="2020-03-30T15:46:30.214" v="0"/>
          <ac:spMkLst>
            <pc:docMk/>
            <pc:sldMasterMk cId="148385369" sldId="2147483807"/>
            <ac:spMk id="2" creationId="{7BF32DED-B87E-4628-8D30-B498402EEDF4}"/>
          </ac:spMkLst>
        </pc:spChg>
        <pc:spChg chg="add mod">
          <ac:chgData name="Devid Treuling" userId="59319ebe-00e0-4bed-b2ef-326bd7e50483" providerId="ADAL" clId="{BD9B40A7-68D7-46EB-BCC5-757646F2802A}" dt="2020-03-30T15:46:30.214" v="0"/>
          <ac:spMkLst>
            <pc:docMk/>
            <pc:sldMasterMk cId="148385369" sldId="2147483807"/>
            <ac:spMk id="3" creationId="{1C5C5584-E95A-412B-8CE0-996D869ECDC6}"/>
          </ac:spMkLst>
        </pc:spChg>
        <pc:spChg chg="add mod">
          <ac:chgData name="Devid Treuling" userId="59319ebe-00e0-4bed-b2ef-326bd7e50483" providerId="ADAL" clId="{BD9B40A7-68D7-46EB-BCC5-757646F2802A}" dt="2020-03-30T15:46:30.214" v="0"/>
          <ac:spMkLst>
            <pc:docMk/>
            <pc:sldMasterMk cId="148385369" sldId="2147483807"/>
            <ac:spMk id="4" creationId="{13248CD2-059F-418F-83AE-91925DA30101}"/>
          </ac:spMkLst>
        </pc:spChg>
        <pc:spChg chg="add mod">
          <ac:chgData name="Devid Treuling" userId="59319ebe-00e0-4bed-b2ef-326bd7e50483" providerId="ADAL" clId="{BD9B40A7-68D7-46EB-BCC5-757646F2802A}" dt="2020-03-30T15:46:30.214" v="0"/>
          <ac:spMkLst>
            <pc:docMk/>
            <pc:sldMasterMk cId="148385369" sldId="2147483807"/>
            <ac:spMk id="5" creationId="{5C7C3C08-B097-4B69-B08B-0531FF8BB6BC}"/>
          </ac:spMkLst>
        </pc:spChg>
        <pc:spChg chg="add mod">
          <ac:chgData name="Devid Treuling" userId="59319ebe-00e0-4bed-b2ef-326bd7e50483" providerId="ADAL" clId="{BD9B40A7-68D7-46EB-BCC5-757646F2802A}" dt="2020-03-30T15:46:30.214" v="0"/>
          <ac:spMkLst>
            <pc:docMk/>
            <pc:sldMasterMk cId="148385369" sldId="2147483807"/>
            <ac:spMk id="6" creationId="{54AB5534-C8B4-4876-8B56-5A9D6407CAE8}"/>
          </ac:spMkLst>
        </pc:spChg>
        <pc:sldLayoutChg chg="del">
          <pc:chgData name="Devid Treuling" userId="59319ebe-00e0-4bed-b2ef-326bd7e50483" providerId="ADAL" clId="{BD9B40A7-68D7-46EB-BCC5-757646F2802A}" dt="2020-03-30T15:46:31.032" v="166" actId="2696"/>
          <pc:sldLayoutMkLst>
            <pc:docMk/>
            <pc:sldMasterMk cId="148385369" sldId="2147483807"/>
            <pc:sldLayoutMk cId="1663441160" sldId="2147483808"/>
          </pc:sldLayoutMkLst>
        </pc:sldLayoutChg>
        <pc:sldLayoutChg chg="del">
          <pc:chgData name="Devid Treuling" userId="59319ebe-00e0-4bed-b2ef-326bd7e50483" providerId="ADAL" clId="{BD9B40A7-68D7-46EB-BCC5-757646F2802A}" dt="2020-03-30T15:46:31.036" v="167" actId="2696"/>
          <pc:sldLayoutMkLst>
            <pc:docMk/>
            <pc:sldMasterMk cId="148385369" sldId="2147483807"/>
            <pc:sldLayoutMk cId="2540752223" sldId="2147483809"/>
          </pc:sldLayoutMkLst>
        </pc:sldLayoutChg>
        <pc:sldLayoutChg chg="del">
          <pc:chgData name="Devid Treuling" userId="59319ebe-00e0-4bed-b2ef-326bd7e50483" providerId="ADAL" clId="{BD9B40A7-68D7-46EB-BCC5-757646F2802A}" dt="2020-03-30T15:46:31.040" v="168" actId="2696"/>
          <pc:sldLayoutMkLst>
            <pc:docMk/>
            <pc:sldMasterMk cId="148385369" sldId="2147483807"/>
            <pc:sldLayoutMk cId="2662298764" sldId="2147483810"/>
          </pc:sldLayoutMkLst>
        </pc:sldLayoutChg>
        <pc:sldLayoutChg chg="del">
          <pc:chgData name="Devid Treuling" userId="59319ebe-00e0-4bed-b2ef-326bd7e50483" providerId="ADAL" clId="{BD9B40A7-68D7-46EB-BCC5-757646F2802A}" dt="2020-03-30T15:46:31.044" v="169" actId="2696"/>
          <pc:sldLayoutMkLst>
            <pc:docMk/>
            <pc:sldMasterMk cId="148385369" sldId="2147483807"/>
            <pc:sldLayoutMk cId="1512736475" sldId="2147483811"/>
          </pc:sldLayoutMkLst>
        </pc:sldLayoutChg>
        <pc:sldLayoutChg chg="del">
          <pc:chgData name="Devid Treuling" userId="59319ebe-00e0-4bed-b2ef-326bd7e50483" providerId="ADAL" clId="{BD9B40A7-68D7-46EB-BCC5-757646F2802A}" dt="2020-03-30T15:46:31.049" v="170" actId="2696"/>
          <pc:sldLayoutMkLst>
            <pc:docMk/>
            <pc:sldMasterMk cId="148385369" sldId="2147483807"/>
            <pc:sldLayoutMk cId="2838614088" sldId="2147483812"/>
          </pc:sldLayoutMkLst>
        </pc:sldLayoutChg>
        <pc:sldLayoutChg chg="del">
          <pc:chgData name="Devid Treuling" userId="59319ebe-00e0-4bed-b2ef-326bd7e50483" providerId="ADAL" clId="{BD9B40A7-68D7-46EB-BCC5-757646F2802A}" dt="2020-03-30T15:46:31.052" v="171" actId="2696"/>
          <pc:sldLayoutMkLst>
            <pc:docMk/>
            <pc:sldMasterMk cId="148385369" sldId="2147483807"/>
            <pc:sldLayoutMk cId="2498982971" sldId="2147483813"/>
          </pc:sldLayoutMkLst>
        </pc:sldLayoutChg>
        <pc:sldLayoutChg chg="del">
          <pc:chgData name="Devid Treuling" userId="59319ebe-00e0-4bed-b2ef-326bd7e50483" providerId="ADAL" clId="{BD9B40A7-68D7-46EB-BCC5-757646F2802A}" dt="2020-03-30T15:46:31.056" v="172" actId="2696"/>
          <pc:sldLayoutMkLst>
            <pc:docMk/>
            <pc:sldMasterMk cId="148385369" sldId="2147483807"/>
            <pc:sldLayoutMk cId="1450734048" sldId="2147483814"/>
          </pc:sldLayoutMkLst>
        </pc:sldLayoutChg>
        <pc:sldLayoutChg chg="del">
          <pc:chgData name="Devid Treuling" userId="59319ebe-00e0-4bed-b2ef-326bd7e50483" providerId="ADAL" clId="{BD9B40A7-68D7-46EB-BCC5-757646F2802A}" dt="2020-03-30T15:46:31.060" v="173" actId="2696"/>
          <pc:sldLayoutMkLst>
            <pc:docMk/>
            <pc:sldMasterMk cId="148385369" sldId="2147483807"/>
            <pc:sldLayoutMk cId="1651121265" sldId="2147483815"/>
          </pc:sldLayoutMkLst>
        </pc:sldLayoutChg>
        <pc:sldLayoutChg chg="del">
          <pc:chgData name="Devid Treuling" userId="59319ebe-00e0-4bed-b2ef-326bd7e50483" providerId="ADAL" clId="{BD9B40A7-68D7-46EB-BCC5-757646F2802A}" dt="2020-03-30T15:46:31.064" v="174" actId="2696"/>
          <pc:sldLayoutMkLst>
            <pc:docMk/>
            <pc:sldMasterMk cId="148385369" sldId="2147483807"/>
            <pc:sldLayoutMk cId="2688497052" sldId="2147483816"/>
          </pc:sldLayoutMkLst>
        </pc:sldLayoutChg>
        <pc:sldLayoutChg chg="del">
          <pc:chgData name="Devid Treuling" userId="59319ebe-00e0-4bed-b2ef-326bd7e50483" providerId="ADAL" clId="{BD9B40A7-68D7-46EB-BCC5-757646F2802A}" dt="2020-03-30T15:46:31.068" v="175" actId="2696"/>
          <pc:sldLayoutMkLst>
            <pc:docMk/>
            <pc:sldMasterMk cId="148385369" sldId="2147483807"/>
            <pc:sldLayoutMk cId="4017846506" sldId="2147483817"/>
          </pc:sldLayoutMkLst>
        </pc:sldLayoutChg>
        <pc:sldLayoutChg chg="del">
          <pc:chgData name="Devid Treuling" userId="59319ebe-00e0-4bed-b2ef-326bd7e50483" providerId="ADAL" clId="{BD9B40A7-68D7-46EB-BCC5-757646F2802A}" dt="2020-03-30T15:46:31.072" v="176" actId="2696"/>
          <pc:sldLayoutMkLst>
            <pc:docMk/>
            <pc:sldMasterMk cId="148385369" sldId="2147483807"/>
            <pc:sldLayoutMk cId="4185818252" sldId="2147483818"/>
          </pc:sldLayoutMkLst>
        </pc:sldLayoutChg>
      </pc:sldMasterChg>
    </pc:docChg>
  </pc:docChgLst>
  <pc:docChgLst>
    <pc:chgData name="Devid Treuling" userId="59319ebe-00e0-4bed-b2ef-326bd7e50483" providerId="ADAL" clId="{398C985C-4939-4904-9544-A192F358B56A}"/>
    <pc:docChg chg="undo custSel addSld delSld modSld addMainMaster delMainMaster modMainMaster">
      <pc:chgData name="Devid Treuling" userId="59319ebe-00e0-4bed-b2ef-326bd7e50483" providerId="ADAL" clId="{398C985C-4939-4904-9544-A192F358B56A}" dt="2020-05-20T16:13:01.605" v="776" actId="2696"/>
      <pc:docMkLst>
        <pc:docMk/>
      </pc:docMkLst>
      <pc:sldChg chg="modSp modTransition">
        <pc:chgData name="Devid Treuling" userId="59319ebe-00e0-4bed-b2ef-326bd7e50483" providerId="ADAL" clId="{398C985C-4939-4904-9544-A192F358B56A}" dt="2020-05-20T16:13:01.482" v="693"/>
        <pc:sldMkLst>
          <pc:docMk/>
          <pc:sldMk cId="2181956486" sldId="256"/>
        </pc:sldMkLst>
        <pc:spChg chg="mod">
          <ac:chgData name="Devid Treuling" userId="59319ebe-00e0-4bed-b2ef-326bd7e50483" providerId="ADAL" clId="{398C985C-4939-4904-9544-A192F358B56A}" dt="2020-05-20T16:13:00.795" v="600"/>
          <ac:spMkLst>
            <pc:docMk/>
            <pc:sldMk cId="2181956486" sldId="256"/>
            <ac:spMk id="4" creationId="{00000000-0000-0000-0000-000000000000}"/>
          </ac:spMkLst>
        </pc:spChg>
        <pc:spChg chg="mod">
          <ac:chgData name="Devid Treuling" userId="59319ebe-00e0-4bed-b2ef-326bd7e50483" providerId="ADAL" clId="{398C985C-4939-4904-9544-A192F358B56A}" dt="2020-05-20T16:13:00.795" v="600"/>
          <ac:spMkLst>
            <pc:docMk/>
            <pc:sldMk cId="2181956486" sldId="256"/>
            <ac:spMk id="6" creationId="{12808BD5-6BEE-4164-9264-E55A823F2E3D}"/>
          </ac:spMkLst>
        </pc:spChg>
        <pc:picChg chg="mod">
          <ac:chgData name="Devid Treuling" userId="59319ebe-00e0-4bed-b2ef-326bd7e50483" providerId="ADAL" clId="{398C985C-4939-4904-9544-A192F358B56A}" dt="2020-05-20T16:13:00.795" v="600"/>
          <ac:picMkLst>
            <pc:docMk/>
            <pc:sldMk cId="2181956486" sldId="256"/>
            <ac:picMk id="8" creationId="{DEBB7B6C-5800-4217-A7DA-4983C5C30F7A}"/>
          </ac:picMkLst>
        </pc:picChg>
      </pc:sldChg>
      <pc:sldChg chg="modTransition">
        <pc:chgData name="Devid Treuling" userId="59319ebe-00e0-4bed-b2ef-326bd7e50483" providerId="ADAL" clId="{398C985C-4939-4904-9544-A192F358B56A}" dt="2020-05-20T16:13:01.486" v="698"/>
        <pc:sldMkLst>
          <pc:docMk/>
          <pc:sldMk cId="2242852715" sldId="257"/>
        </pc:sldMkLst>
      </pc:sldChg>
      <pc:sldChg chg="modSp modTransition">
        <pc:chgData name="Devid Treuling" userId="59319ebe-00e0-4bed-b2ef-326bd7e50483" providerId="ADAL" clId="{398C985C-4939-4904-9544-A192F358B56A}" dt="2020-05-20T16:13:01.490" v="703"/>
        <pc:sldMkLst>
          <pc:docMk/>
          <pc:sldMk cId="3001679096" sldId="258"/>
        </pc:sldMkLst>
        <pc:spChg chg="mod">
          <ac:chgData name="Devid Treuling" userId="59319ebe-00e0-4bed-b2ef-326bd7e50483" providerId="ADAL" clId="{398C985C-4939-4904-9544-A192F358B56A}" dt="2020-05-20T16:13:00.795" v="600"/>
          <ac:spMkLst>
            <pc:docMk/>
            <pc:sldMk cId="3001679096" sldId="258"/>
            <ac:spMk id="2" creationId="{0D571322-9F37-477D-9B5B-EBF49D8B1DE4}"/>
          </ac:spMkLst>
        </pc:spChg>
        <pc:spChg chg="mod">
          <ac:chgData name="Devid Treuling" userId="59319ebe-00e0-4bed-b2ef-326bd7e50483" providerId="ADAL" clId="{398C985C-4939-4904-9544-A192F358B56A}" dt="2020-05-20T16:13:00.795" v="600"/>
          <ac:spMkLst>
            <pc:docMk/>
            <pc:sldMk cId="3001679096" sldId="258"/>
            <ac:spMk id="3" creationId="{355F4707-2382-4D2B-8385-1E54F39F514C}"/>
          </ac:spMkLst>
        </pc:spChg>
      </pc:sldChg>
      <pc:sldChg chg="modSp modTransition">
        <pc:chgData name="Devid Treuling" userId="59319ebe-00e0-4bed-b2ef-326bd7e50483" providerId="ADAL" clId="{398C985C-4939-4904-9544-A192F358B56A}" dt="2020-05-20T16:13:01.495" v="708"/>
        <pc:sldMkLst>
          <pc:docMk/>
          <pc:sldMk cId="1635881331" sldId="259"/>
        </pc:sldMkLst>
        <pc:spChg chg="mod">
          <ac:chgData name="Devid Treuling" userId="59319ebe-00e0-4bed-b2ef-326bd7e50483" providerId="ADAL" clId="{398C985C-4939-4904-9544-A192F358B56A}" dt="2020-05-20T16:13:00.795" v="600"/>
          <ac:spMkLst>
            <pc:docMk/>
            <pc:sldMk cId="1635881331" sldId="259"/>
            <ac:spMk id="5" creationId="{27132E6D-A6EE-402B-895A-D0B053AB702A}"/>
          </ac:spMkLst>
        </pc:spChg>
      </pc:sldChg>
      <pc:sldChg chg="modSp modTransition">
        <pc:chgData name="Devid Treuling" userId="59319ebe-00e0-4bed-b2ef-326bd7e50483" providerId="ADAL" clId="{398C985C-4939-4904-9544-A192F358B56A}" dt="2020-05-20T16:13:01.499" v="713"/>
        <pc:sldMkLst>
          <pc:docMk/>
          <pc:sldMk cId="1732864890" sldId="260"/>
        </pc:sldMkLst>
        <pc:spChg chg="mod">
          <ac:chgData name="Devid Treuling" userId="59319ebe-00e0-4bed-b2ef-326bd7e50483" providerId="ADAL" clId="{398C985C-4939-4904-9544-A192F358B56A}" dt="2020-05-20T16:13:00.795" v="600"/>
          <ac:spMkLst>
            <pc:docMk/>
            <pc:sldMk cId="1732864890" sldId="260"/>
            <ac:spMk id="4" creationId="{3BDD850C-29B9-4641-B580-0B91B9EBAE00}"/>
          </ac:spMkLst>
        </pc:spChg>
        <pc:spChg chg="mod">
          <ac:chgData name="Devid Treuling" userId="59319ebe-00e0-4bed-b2ef-326bd7e50483" providerId="ADAL" clId="{398C985C-4939-4904-9544-A192F358B56A}" dt="2020-05-20T16:13:00.795" v="600"/>
          <ac:spMkLst>
            <pc:docMk/>
            <pc:sldMk cId="1732864890" sldId="260"/>
            <ac:spMk id="5" creationId="{55182462-DFDF-4D48-A92C-42FD52821C4E}"/>
          </ac:spMkLst>
        </pc:spChg>
        <pc:spChg chg="mod">
          <ac:chgData name="Devid Treuling" userId="59319ebe-00e0-4bed-b2ef-326bd7e50483" providerId="ADAL" clId="{398C985C-4939-4904-9544-A192F358B56A}" dt="2020-05-20T16:13:00.795" v="600"/>
          <ac:spMkLst>
            <pc:docMk/>
            <pc:sldMk cId="1732864890" sldId="260"/>
            <ac:spMk id="7" creationId="{D26C7312-6643-4F44-86B4-FA64F536177B}"/>
          </ac:spMkLst>
        </pc:spChg>
      </pc:sldChg>
      <pc:sldChg chg="modSp modTransition">
        <pc:chgData name="Devid Treuling" userId="59319ebe-00e0-4bed-b2ef-326bd7e50483" providerId="ADAL" clId="{398C985C-4939-4904-9544-A192F358B56A}" dt="2020-05-20T16:13:01.502" v="718"/>
        <pc:sldMkLst>
          <pc:docMk/>
          <pc:sldMk cId="914707366" sldId="261"/>
        </pc:sldMkLst>
        <pc:spChg chg="mod">
          <ac:chgData name="Devid Treuling" userId="59319ebe-00e0-4bed-b2ef-326bd7e50483" providerId="ADAL" clId="{398C985C-4939-4904-9544-A192F358B56A}" dt="2020-05-20T16:13:00.795" v="600"/>
          <ac:spMkLst>
            <pc:docMk/>
            <pc:sldMk cId="914707366" sldId="261"/>
            <ac:spMk id="2"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3" creationId="{00000000-0000-0000-0000-000000000000}"/>
          </ac:spMkLst>
        </pc:spChg>
        <pc:spChg chg="mod">
          <ac:chgData name="Devid Treuling" userId="59319ebe-00e0-4bed-b2ef-326bd7e50483" providerId="ADAL" clId="{398C985C-4939-4904-9544-A192F358B56A}" dt="2020-05-20T16:13:00.795" v="600"/>
          <ac:spMkLst>
            <pc:docMk/>
            <pc:sldMk cId="914707366" sldId="261"/>
            <ac:spMk id="12" creationId="{C4226080-F4D3-473F-8324-DFB4ADA600CB}"/>
          </ac:spMkLst>
        </pc:spChg>
      </pc:sldChg>
      <pc:sldChg chg="modSp modTransition">
        <pc:chgData name="Devid Treuling" userId="59319ebe-00e0-4bed-b2ef-326bd7e50483" providerId="ADAL" clId="{398C985C-4939-4904-9544-A192F358B56A}" dt="2020-05-20T16:13:01.505" v="723"/>
        <pc:sldMkLst>
          <pc:docMk/>
          <pc:sldMk cId="2379444036" sldId="262"/>
        </pc:sldMkLst>
        <pc:spChg chg="mod">
          <ac:chgData name="Devid Treuling" userId="59319ebe-00e0-4bed-b2ef-326bd7e50483" providerId="ADAL" clId="{398C985C-4939-4904-9544-A192F358B56A}" dt="2020-05-20T16:13:00.795" v="600"/>
          <ac:spMkLst>
            <pc:docMk/>
            <pc:sldMk cId="2379444036" sldId="262"/>
            <ac:spMk id="4" creationId="{9CBC6F63-616D-478D-A91D-8B071350BF64}"/>
          </ac:spMkLst>
        </pc:spChg>
      </pc:sldChg>
      <pc:sldChg chg="modSp modTransition">
        <pc:chgData name="Devid Treuling" userId="59319ebe-00e0-4bed-b2ef-326bd7e50483" providerId="ADAL" clId="{398C985C-4939-4904-9544-A192F358B56A}" dt="2020-05-20T16:13:01.507" v="728"/>
        <pc:sldMkLst>
          <pc:docMk/>
          <pc:sldMk cId="1385431110" sldId="263"/>
        </pc:sldMkLst>
        <pc:spChg chg="mod">
          <ac:chgData name="Devid Treuling" userId="59319ebe-00e0-4bed-b2ef-326bd7e50483" providerId="ADAL" clId="{398C985C-4939-4904-9544-A192F358B56A}" dt="2020-05-20T16:13:00.795" v="600"/>
          <ac:spMkLst>
            <pc:docMk/>
            <pc:sldMk cId="1385431110" sldId="263"/>
            <ac:spMk id="2" creationId="{E0DCCC6D-05C4-4092-8C9D-AA0D46C1A281}"/>
          </ac:spMkLst>
        </pc:spChg>
        <pc:spChg chg="mod">
          <ac:chgData name="Devid Treuling" userId="59319ebe-00e0-4bed-b2ef-326bd7e50483" providerId="ADAL" clId="{398C985C-4939-4904-9544-A192F358B56A}" dt="2020-05-20T16:13:00.795" v="600"/>
          <ac:spMkLst>
            <pc:docMk/>
            <pc:sldMk cId="1385431110" sldId="263"/>
            <ac:spMk id="3" creationId="{00000000-0000-0000-0000-000000000000}"/>
          </ac:spMkLst>
        </pc:spChg>
      </pc:sldChg>
      <pc:sldChg chg="modSp modTransition">
        <pc:chgData name="Devid Treuling" userId="59319ebe-00e0-4bed-b2ef-326bd7e50483" providerId="ADAL" clId="{398C985C-4939-4904-9544-A192F358B56A}" dt="2020-05-20T16:13:01.510" v="733"/>
        <pc:sldMkLst>
          <pc:docMk/>
          <pc:sldMk cId="3996308554" sldId="264"/>
        </pc:sldMkLst>
        <pc:spChg chg="mod">
          <ac:chgData name="Devid Treuling" userId="59319ebe-00e0-4bed-b2ef-326bd7e50483" providerId="ADAL" clId="{398C985C-4939-4904-9544-A192F358B56A}" dt="2020-05-20T16:13:00.795" v="600"/>
          <ac:spMkLst>
            <pc:docMk/>
            <pc:sldMk cId="3996308554" sldId="264"/>
            <ac:spMk id="3" creationId="{8F64A22E-2B43-4FC6-AF08-0CDB3F9E9269}"/>
          </ac:spMkLst>
        </pc:spChg>
        <pc:spChg chg="mod">
          <ac:chgData name="Devid Treuling" userId="59319ebe-00e0-4bed-b2ef-326bd7e50483" providerId="ADAL" clId="{398C985C-4939-4904-9544-A192F358B56A}" dt="2020-05-20T16:13:00.795" v="600"/>
          <ac:spMkLst>
            <pc:docMk/>
            <pc:sldMk cId="3996308554" sldId="264"/>
            <ac:spMk id="7" creationId="{B0504AD0-36BB-4D91-BEB6-18A5CDC8B4E0}"/>
          </ac:spMkLst>
        </pc:spChg>
        <pc:picChg chg="mod">
          <ac:chgData name="Devid Treuling" userId="59319ebe-00e0-4bed-b2ef-326bd7e50483" providerId="ADAL" clId="{398C985C-4939-4904-9544-A192F358B56A}" dt="2020-05-20T16:13:00.795" v="600"/>
          <ac:picMkLst>
            <pc:docMk/>
            <pc:sldMk cId="3996308554" sldId="264"/>
            <ac:picMk id="16" creationId="{F27CF966-34DA-4658-8DA3-65A171614831}"/>
          </ac:picMkLst>
        </pc:picChg>
      </pc:sldChg>
      <pc:sldChg chg="modSp modTransition">
        <pc:chgData name="Devid Treuling" userId="59319ebe-00e0-4bed-b2ef-326bd7e50483" providerId="ADAL" clId="{398C985C-4939-4904-9544-A192F358B56A}" dt="2020-05-20T16:13:01.514" v="738"/>
        <pc:sldMkLst>
          <pc:docMk/>
          <pc:sldMk cId="4145703054" sldId="265"/>
        </pc:sldMkLst>
        <pc:spChg chg="mod">
          <ac:chgData name="Devid Treuling" userId="59319ebe-00e0-4bed-b2ef-326bd7e50483" providerId="ADAL" clId="{398C985C-4939-4904-9544-A192F358B56A}" dt="2020-05-20T16:13:00.795" v="600"/>
          <ac:spMkLst>
            <pc:docMk/>
            <pc:sldMk cId="4145703054" sldId="265"/>
            <ac:spMk id="2" creationId="{4615BB0C-211A-4A6B-A4FE-D9C725309C49}"/>
          </ac:spMkLst>
        </pc:spChg>
        <pc:spChg chg="mod">
          <ac:chgData name="Devid Treuling" userId="59319ebe-00e0-4bed-b2ef-326bd7e50483" providerId="ADAL" clId="{398C985C-4939-4904-9544-A192F358B56A}" dt="2020-05-20T16:13:00.795" v="600"/>
          <ac:spMkLst>
            <pc:docMk/>
            <pc:sldMk cId="4145703054" sldId="265"/>
            <ac:spMk id="15" creationId="{6DAA8F88-5BE5-4DEB-B8E1-CCA52313CEB8}"/>
          </ac:spMkLst>
        </pc:spChg>
        <pc:picChg chg="mod">
          <ac:chgData name="Devid Treuling" userId="59319ebe-00e0-4bed-b2ef-326bd7e50483" providerId="ADAL" clId="{398C985C-4939-4904-9544-A192F358B56A}" dt="2020-05-20T16:13:00.795" v="600"/>
          <ac:picMkLst>
            <pc:docMk/>
            <pc:sldMk cId="4145703054" sldId="265"/>
            <ac:picMk id="36" creationId="{E609CE4D-9188-4CF4-804D-5F16F38688F4}"/>
          </ac:picMkLst>
        </pc:picChg>
      </pc:sldChg>
      <pc:sldChg chg="modSp modTransition">
        <pc:chgData name="Devid Treuling" userId="59319ebe-00e0-4bed-b2ef-326bd7e50483" providerId="ADAL" clId="{398C985C-4939-4904-9544-A192F358B56A}" dt="2020-05-20T16:13:01.517" v="743"/>
        <pc:sldMkLst>
          <pc:docMk/>
          <pc:sldMk cId="3977638465" sldId="266"/>
        </pc:sldMkLst>
        <pc:spChg chg="mod">
          <ac:chgData name="Devid Treuling" userId="59319ebe-00e0-4bed-b2ef-326bd7e50483" providerId="ADAL" clId="{398C985C-4939-4904-9544-A192F358B56A}" dt="2020-05-20T16:13:00.795" v="600"/>
          <ac:spMkLst>
            <pc:docMk/>
            <pc:sldMk cId="3977638465" sldId="266"/>
            <ac:spMk id="2" creationId="{BC57B38C-8413-4861-A4F5-7DF656AEAD0D}"/>
          </ac:spMkLst>
        </pc:spChg>
        <pc:spChg chg="mod">
          <ac:chgData name="Devid Treuling" userId="59319ebe-00e0-4bed-b2ef-326bd7e50483" providerId="ADAL" clId="{398C985C-4939-4904-9544-A192F358B56A}" dt="2020-05-20T16:13:00.795" v="600"/>
          <ac:spMkLst>
            <pc:docMk/>
            <pc:sldMk cId="3977638465" sldId="266"/>
            <ac:spMk id="10" creationId="{3AEB9F1D-7FAA-4E4F-8117-85F44C19869A}"/>
          </ac:spMkLst>
        </pc:spChg>
        <pc:spChg chg="mod">
          <ac:chgData name="Devid Treuling" userId="59319ebe-00e0-4bed-b2ef-326bd7e50483" providerId="ADAL" clId="{398C985C-4939-4904-9544-A192F358B56A}" dt="2020-05-20T16:13:00.795" v="600"/>
          <ac:spMkLst>
            <pc:docMk/>
            <pc:sldMk cId="3977638465" sldId="266"/>
            <ac:spMk id="11" creationId="{F520343A-4103-4113-8E4D-00C78583B1A1}"/>
          </ac:spMkLst>
        </pc:spChg>
      </pc:sldChg>
      <pc:sldChg chg="modSp modTransition">
        <pc:chgData name="Devid Treuling" userId="59319ebe-00e0-4bed-b2ef-326bd7e50483" providerId="ADAL" clId="{398C985C-4939-4904-9544-A192F358B56A}" dt="2020-05-20T16:13:01.519" v="748"/>
        <pc:sldMkLst>
          <pc:docMk/>
          <pc:sldMk cId="3596592614" sldId="267"/>
        </pc:sldMkLst>
        <pc:spChg chg="mod">
          <ac:chgData name="Devid Treuling" userId="59319ebe-00e0-4bed-b2ef-326bd7e50483" providerId="ADAL" clId="{398C985C-4939-4904-9544-A192F358B56A}" dt="2020-05-20T16:13:00.795" v="600"/>
          <ac:spMkLst>
            <pc:docMk/>
            <pc:sldMk cId="3596592614" sldId="267"/>
            <ac:spMk id="5" creationId="{27132E6D-A6EE-402B-895A-D0B053AB702A}"/>
          </ac:spMkLst>
        </pc:spChg>
      </pc:sldChg>
      <pc:sldChg chg="modSp modTransition">
        <pc:chgData name="Devid Treuling" userId="59319ebe-00e0-4bed-b2ef-326bd7e50483" providerId="ADAL" clId="{398C985C-4939-4904-9544-A192F358B56A}" dt="2020-05-20T16:13:01.522" v="753"/>
        <pc:sldMkLst>
          <pc:docMk/>
          <pc:sldMk cId="2843332786" sldId="268"/>
        </pc:sldMkLst>
        <pc:spChg chg="mod">
          <ac:chgData name="Devid Treuling" userId="59319ebe-00e0-4bed-b2ef-326bd7e50483" providerId="ADAL" clId="{398C985C-4939-4904-9544-A192F358B56A}" dt="2020-05-20T16:13:00.795" v="600"/>
          <ac:spMkLst>
            <pc:docMk/>
            <pc:sldMk cId="2843332786" sldId="268"/>
            <ac:spMk id="2" creationId="{E0DCCC6D-05C4-4092-8C9D-AA0D46C1A281}"/>
          </ac:spMkLst>
        </pc:spChg>
        <pc:spChg chg="mod">
          <ac:chgData name="Devid Treuling" userId="59319ebe-00e0-4bed-b2ef-326bd7e50483" providerId="ADAL" clId="{398C985C-4939-4904-9544-A192F358B56A}" dt="2020-05-20T16:13:00.795" v="600"/>
          <ac:spMkLst>
            <pc:docMk/>
            <pc:sldMk cId="2843332786" sldId="268"/>
            <ac:spMk id="3" creationId="{00000000-0000-0000-0000-000000000000}"/>
          </ac:spMkLst>
        </pc:spChg>
      </pc:sldChg>
      <pc:sldChg chg="modTransition">
        <pc:chgData name="Devid Treuling" userId="59319ebe-00e0-4bed-b2ef-326bd7e50483" providerId="ADAL" clId="{398C985C-4939-4904-9544-A192F358B56A}" dt="2020-05-20T16:13:01.525" v="758"/>
        <pc:sldMkLst>
          <pc:docMk/>
          <pc:sldMk cId="1094208049" sldId="269"/>
        </pc:sldMkLst>
      </pc:sldChg>
      <pc:sldChg chg="modSp add del modTransition">
        <pc:chgData name="Devid Treuling" userId="59319ebe-00e0-4bed-b2ef-326bd7e50483" providerId="ADAL" clId="{398C985C-4939-4904-9544-A192F358B56A}" dt="2020-05-20T16:13:01.605" v="776" actId="2696"/>
        <pc:sldMkLst>
          <pc:docMk/>
          <pc:sldMk cId="335324268" sldId="270"/>
        </pc:sldMkLst>
        <pc:spChg chg="mod">
          <ac:chgData name="Devid Treuling" userId="59319ebe-00e0-4bed-b2ef-326bd7e50483" providerId="ADAL" clId="{398C985C-4939-4904-9544-A192F358B56A}" dt="2020-05-20T16:13:00.795" v="600"/>
          <ac:spMkLst>
            <pc:docMk/>
            <pc:sldMk cId="335324268" sldId="270"/>
            <ac:spMk id="2" creationId="{2D3A4FD7-13A3-4DA6-B45D-F9C53C9F2DBE}"/>
          </ac:spMkLst>
        </pc:spChg>
        <pc:spChg chg="mod">
          <ac:chgData name="Devid Treuling" userId="59319ebe-00e0-4bed-b2ef-326bd7e50483" providerId="ADAL" clId="{398C985C-4939-4904-9544-A192F358B56A}" dt="2020-05-20T16:13:00.795" v="600"/>
          <ac:spMkLst>
            <pc:docMk/>
            <pc:sldMk cId="335324268" sldId="270"/>
            <ac:spMk id="3" creationId="{E6E80BC3-0F20-4181-9AFB-A28E3E77BA45}"/>
          </ac:spMkLst>
        </pc:spChg>
      </pc:sldChg>
      <pc:sldChg chg="modSp add del modTransition">
        <pc:chgData name="Devid Treuling" userId="59319ebe-00e0-4bed-b2ef-326bd7e50483" providerId="ADAL" clId="{398C985C-4939-4904-9544-A192F358B56A}" dt="2020-05-20T16:08:52.991" v="596" actId="2696"/>
        <pc:sldMkLst>
          <pc:docMk/>
          <pc:sldMk cId="1931592040" sldId="270"/>
        </pc:sldMkLst>
        <pc:spChg chg="mod">
          <ac:chgData name="Devid Treuling" userId="59319ebe-00e0-4bed-b2ef-326bd7e50483" providerId="ADAL" clId="{398C985C-4939-4904-9544-A192F358B56A}" dt="2020-05-20T16:08:52.459" v="420"/>
          <ac:spMkLst>
            <pc:docMk/>
            <pc:sldMk cId="1931592040" sldId="270"/>
            <ac:spMk id="2" creationId="{766E78AD-CCC5-4C39-A7E3-1B005F93A143}"/>
          </ac:spMkLst>
        </pc:spChg>
        <pc:spChg chg="mod">
          <ac:chgData name="Devid Treuling" userId="59319ebe-00e0-4bed-b2ef-326bd7e50483" providerId="ADAL" clId="{398C985C-4939-4904-9544-A192F358B56A}" dt="2020-05-20T16:08:52.459" v="420"/>
          <ac:spMkLst>
            <pc:docMk/>
            <pc:sldMk cId="1931592040" sldId="270"/>
            <ac:spMk id="3" creationId="{D8FC1111-34E1-4977-A0CE-6FDBDFF0688B}"/>
          </ac:spMkLst>
        </pc:spChg>
      </pc:sldChg>
      <pc:sldChg chg="modSp add del modTransition">
        <pc:chgData name="Devid Treuling" userId="59319ebe-00e0-4bed-b2ef-326bd7e50483" providerId="ADAL" clId="{398C985C-4939-4904-9544-A192F358B56A}" dt="2020-05-20T16:05:25.617" v="416" actId="2696"/>
        <pc:sldMkLst>
          <pc:docMk/>
          <pc:sldMk cId="2023283921" sldId="270"/>
        </pc:sldMkLst>
        <pc:spChg chg="mod">
          <ac:chgData name="Devid Treuling" userId="59319ebe-00e0-4bed-b2ef-326bd7e50483" providerId="ADAL" clId="{398C985C-4939-4904-9544-A192F358B56A}" dt="2020-05-20T16:05:25.160" v="240"/>
          <ac:spMkLst>
            <pc:docMk/>
            <pc:sldMk cId="2023283921" sldId="270"/>
            <ac:spMk id="2" creationId="{F2EAFF10-CFA8-4D63-ADB3-61AB3556C466}"/>
          </ac:spMkLst>
        </pc:spChg>
        <pc:spChg chg="mod">
          <ac:chgData name="Devid Treuling" userId="59319ebe-00e0-4bed-b2ef-326bd7e50483" providerId="ADAL" clId="{398C985C-4939-4904-9544-A192F358B56A}" dt="2020-05-20T16:05:25.160" v="240"/>
          <ac:spMkLst>
            <pc:docMk/>
            <pc:sldMk cId="2023283921" sldId="270"/>
            <ac:spMk id="3" creationId="{3354AE07-D3B6-4077-B822-E8AC6663941E}"/>
          </ac:spMkLst>
        </pc:spChg>
      </pc:sldChg>
      <pc:sldChg chg="modSp add del modTransition">
        <pc:chgData name="Devid Treuling" userId="59319ebe-00e0-4bed-b2ef-326bd7e50483" providerId="ADAL" clId="{398C985C-4939-4904-9544-A192F358B56A}" dt="2020-05-20T16:04:46.399" v="237"/>
        <pc:sldMkLst>
          <pc:docMk/>
          <pc:sldMk cId="3909586908" sldId="270"/>
        </pc:sldMkLst>
        <pc:spChg chg="mod">
          <ac:chgData name="Devid Treuling" userId="59319ebe-00e0-4bed-b2ef-326bd7e50483" providerId="ADAL" clId="{398C985C-4939-4904-9544-A192F358B56A}" dt="2020-05-20T16:04:46.399" v="237"/>
          <ac:spMkLst>
            <pc:docMk/>
            <pc:sldMk cId="3909586908" sldId="270"/>
            <ac:spMk id="2" creationId="{85102FE9-E88C-4DA9-8EBD-3E4CB6203965}"/>
          </ac:spMkLst>
        </pc:spChg>
        <pc:spChg chg="mod">
          <ac:chgData name="Devid Treuling" userId="59319ebe-00e0-4bed-b2ef-326bd7e50483" providerId="ADAL" clId="{398C985C-4939-4904-9544-A192F358B56A}" dt="2020-05-20T16:04:46.399" v="237"/>
          <ac:spMkLst>
            <pc:docMk/>
            <pc:sldMk cId="3909586908" sldId="270"/>
            <ac:spMk id="3" creationId="{5C1E9712-EF32-4D11-942F-4A9E57123474}"/>
          </ac:spMkLst>
        </pc:spChg>
      </pc:sldChg>
      <pc:sldChg chg="add del">
        <pc:chgData name="Devid Treuling" userId="59319ebe-00e0-4bed-b2ef-326bd7e50483" providerId="ADAL" clId="{398C985C-4939-4904-9544-A192F358B56A}" dt="2020-05-20T16:08:52.559" v="436" actId="2696"/>
        <pc:sldMkLst>
          <pc:docMk/>
          <pc:sldMk cId="36924870" sldId="271"/>
        </pc:sldMkLst>
      </pc:sldChg>
      <pc:sldChg chg="add del">
        <pc:chgData name="Devid Treuling" userId="59319ebe-00e0-4bed-b2ef-326bd7e50483" providerId="ADAL" clId="{398C985C-4939-4904-9544-A192F358B56A}" dt="2020-05-20T16:13:00.898" v="606" actId="2696"/>
        <pc:sldMkLst>
          <pc:docMk/>
          <pc:sldMk cId="51638523" sldId="271"/>
        </pc:sldMkLst>
      </pc:sldChg>
      <pc:sldChg chg="add del">
        <pc:chgData name="Devid Treuling" userId="59319ebe-00e0-4bed-b2ef-326bd7e50483" providerId="ADAL" clId="{398C985C-4939-4904-9544-A192F358B56A}" dt="2020-05-20T16:08:52.516" v="426" actId="2696"/>
        <pc:sldMkLst>
          <pc:docMk/>
          <pc:sldMk cId="85159755" sldId="271"/>
        </pc:sldMkLst>
      </pc:sldChg>
      <pc:sldChg chg="add del">
        <pc:chgData name="Devid Treuling" userId="59319ebe-00e0-4bed-b2ef-326bd7e50483" providerId="ADAL" clId="{398C985C-4939-4904-9544-A192F358B56A}" dt="2020-05-20T16:08:52.591" v="444" actId="2696"/>
        <pc:sldMkLst>
          <pc:docMk/>
          <pc:sldMk cId="92762928" sldId="271"/>
        </pc:sldMkLst>
      </pc:sldChg>
      <pc:sldChg chg="add del">
        <pc:chgData name="Devid Treuling" userId="59319ebe-00e0-4bed-b2ef-326bd7e50483" providerId="ADAL" clId="{398C985C-4939-4904-9544-A192F358B56A}" dt="2020-05-20T16:08:52.610" v="448" actId="2696"/>
        <pc:sldMkLst>
          <pc:docMk/>
          <pc:sldMk cId="113612559" sldId="271"/>
        </pc:sldMkLst>
      </pc:sldChg>
      <pc:sldChg chg="add del">
        <pc:chgData name="Devid Treuling" userId="59319ebe-00e0-4bed-b2ef-326bd7e50483" providerId="ADAL" clId="{398C985C-4939-4904-9544-A192F358B56A}" dt="2020-05-20T16:13:00.865" v="602" actId="2696"/>
        <pc:sldMkLst>
          <pc:docMk/>
          <pc:sldMk cId="114021026" sldId="271"/>
        </pc:sldMkLst>
      </pc:sldChg>
      <pc:sldChg chg="add del">
        <pc:chgData name="Devid Treuling" userId="59319ebe-00e0-4bed-b2ef-326bd7e50483" providerId="ADAL" clId="{398C985C-4939-4904-9544-A192F358B56A}" dt="2020-05-20T16:08:52.682" v="464" actId="2696"/>
        <pc:sldMkLst>
          <pc:docMk/>
          <pc:sldMk cId="128138076" sldId="271"/>
        </pc:sldMkLst>
      </pc:sldChg>
      <pc:sldChg chg="add del">
        <pc:chgData name="Devid Treuling" userId="59319ebe-00e0-4bed-b2ef-326bd7e50483" providerId="ADAL" clId="{398C985C-4939-4904-9544-A192F358B56A}" dt="2020-05-20T16:13:00.881" v="604" actId="2696"/>
        <pc:sldMkLst>
          <pc:docMk/>
          <pc:sldMk cId="139511120" sldId="271"/>
        </pc:sldMkLst>
      </pc:sldChg>
      <pc:sldChg chg="add del">
        <pc:chgData name="Devid Treuling" userId="59319ebe-00e0-4bed-b2ef-326bd7e50483" providerId="ADAL" clId="{398C985C-4939-4904-9544-A192F358B56A}" dt="2020-05-20T16:05:25.346" v="290" actId="2696"/>
        <pc:sldMkLst>
          <pc:docMk/>
          <pc:sldMk cId="173472931" sldId="271"/>
        </pc:sldMkLst>
      </pc:sldChg>
      <pc:sldChg chg="add del">
        <pc:chgData name="Devid Treuling" userId="59319ebe-00e0-4bed-b2ef-326bd7e50483" providerId="ADAL" clId="{398C985C-4939-4904-9544-A192F358B56A}" dt="2020-05-20T16:13:01.376" v="680" actId="2696"/>
        <pc:sldMkLst>
          <pc:docMk/>
          <pc:sldMk cId="196676974" sldId="271"/>
        </pc:sldMkLst>
      </pc:sldChg>
      <pc:sldChg chg="add del">
        <pc:chgData name="Devid Treuling" userId="59319ebe-00e0-4bed-b2ef-326bd7e50483" providerId="ADAL" clId="{398C985C-4939-4904-9544-A192F358B56A}" dt="2020-05-20T16:13:00.963" v="616" actId="2696"/>
        <pc:sldMkLst>
          <pc:docMk/>
          <pc:sldMk cId="200661770" sldId="271"/>
        </pc:sldMkLst>
      </pc:sldChg>
      <pc:sldChg chg="add del">
        <pc:chgData name="Devid Treuling" userId="59319ebe-00e0-4bed-b2ef-326bd7e50483" providerId="ADAL" clId="{398C985C-4939-4904-9544-A192F358B56A}" dt="2020-05-20T16:13:01.247" v="660" actId="2696"/>
        <pc:sldMkLst>
          <pc:docMk/>
          <pc:sldMk cId="202848886" sldId="271"/>
        </pc:sldMkLst>
      </pc:sldChg>
      <pc:sldChg chg="add del">
        <pc:chgData name="Devid Treuling" userId="59319ebe-00e0-4bed-b2ef-326bd7e50483" providerId="ADAL" clId="{398C985C-4939-4904-9544-A192F358B56A}" dt="2020-05-20T16:13:01.010" v="624" actId="2696"/>
        <pc:sldMkLst>
          <pc:docMk/>
          <pc:sldMk cId="216730633" sldId="271"/>
        </pc:sldMkLst>
      </pc:sldChg>
      <pc:sldChg chg="add del">
        <pc:chgData name="Devid Treuling" userId="59319ebe-00e0-4bed-b2ef-326bd7e50483" providerId="ADAL" clId="{398C985C-4939-4904-9544-A192F358B56A}" dt="2020-05-20T16:04:46.399" v="237"/>
        <pc:sldMkLst>
          <pc:docMk/>
          <pc:sldMk cId="266340866" sldId="271"/>
        </pc:sldMkLst>
      </pc:sldChg>
      <pc:sldChg chg="add del">
        <pc:chgData name="Devid Treuling" userId="59319ebe-00e0-4bed-b2ef-326bd7e50483" providerId="ADAL" clId="{398C985C-4939-4904-9544-A192F358B56A}" dt="2020-05-20T16:04:46.399" v="237"/>
        <pc:sldMkLst>
          <pc:docMk/>
          <pc:sldMk cId="267317235" sldId="271"/>
        </pc:sldMkLst>
      </pc:sldChg>
      <pc:sldChg chg="add del">
        <pc:chgData name="Devid Treuling" userId="59319ebe-00e0-4bed-b2ef-326bd7e50483" providerId="ADAL" clId="{398C985C-4939-4904-9544-A192F358B56A}" dt="2020-05-20T16:05:25.279" v="272" actId="2696"/>
        <pc:sldMkLst>
          <pc:docMk/>
          <pc:sldMk cId="287192860" sldId="271"/>
        </pc:sldMkLst>
      </pc:sldChg>
      <pc:sldChg chg="add del">
        <pc:chgData name="Devid Treuling" userId="59319ebe-00e0-4bed-b2ef-326bd7e50483" providerId="ADAL" clId="{398C985C-4939-4904-9544-A192F358B56A}" dt="2020-05-20T16:04:46.399" v="237"/>
        <pc:sldMkLst>
          <pc:docMk/>
          <pc:sldMk cId="329814291" sldId="271"/>
        </pc:sldMkLst>
      </pc:sldChg>
      <pc:sldChg chg="add del">
        <pc:chgData name="Devid Treuling" userId="59319ebe-00e0-4bed-b2ef-326bd7e50483" providerId="ADAL" clId="{398C985C-4939-4904-9544-A192F358B56A}" dt="2020-05-20T16:08:52.543" v="432" actId="2696"/>
        <pc:sldMkLst>
          <pc:docMk/>
          <pc:sldMk cId="354991226" sldId="271"/>
        </pc:sldMkLst>
      </pc:sldChg>
      <pc:sldChg chg="add del">
        <pc:chgData name="Devid Treuling" userId="59319ebe-00e0-4bed-b2ef-326bd7e50483" providerId="ADAL" clId="{398C985C-4939-4904-9544-A192F358B56A}" dt="2020-05-20T16:04:46.399" v="237"/>
        <pc:sldMkLst>
          <pc:docMk/>
          <pc:sldMk cId="358391883" sldId="271"/>
        </pc:sldMkLst>
      </pc:sldChg>
      <pc:sldChg chg="add del">
        <pc:chgData name="Devid Treuling" userId="59319ebe-00e0-4bed-b2ef-326bd7e50483" providerId="ADAL" clId="{398C985C-4939-4904-9544-A192F358B56A}" dt="2020-05-20T16:13:01.343" v="674" actId="2696"/>
        <pc:sldMkLst>
          <pc:docMk/>
          <pc:sldMk cId="365926347" sldId="271"/>
        </pc:sldMkLst>
      </pc:sldChg>
      <pc:sldChg chg="add del">
        <pc:chgData name="Devid Treuling" userId="59319ebe-00e0-4bed-b2ef-326bd7e50483" providerId="ADAL" clId="{398C985C-4939-4904-9544-A192F358B56A}" dt="2020-05-20T16:04:46.399" v="237"/>
        <pc:sldMkLst>
          <pc:docMk/>
          <pc:sldMk cId="406453099" sldId="271"/>
        </pc:sldMkLst>
      </pc:sldChg>
      <pc:sldChg chg="add del">
        <pc:chgData name="Devid Treuling" userId="59319ebe-00e0-4bed-b2ef-326bd7e50483" providerId="ADAL" clId="{398C985C-4939-4904-9544-A192F358B56A}" dt="2020-05-20T16:04:46.399" v="237"/>
        <pc:sldMkLst>
          <pc:docMk/>
          <pc:sldMk cId="495839391" sldId="271"/>
        </pc:sldMkLst>
      </pc:sldChg>
      <pc:sldChg chg="add del">
        <pc:chgData name="Devid Treuling" userId="59319ebe-00e0-4bed-b2ef-326bd7e50483" providerId="ADAL" clId="{398C985C-4939-4904-9544-A192F358B56A}" dt="2020-05-20T16:04:46.399" v="237"/>
        <pc:sldMkLst>
          <pc:docMk/>
          <pc:sldMk cId="509551319" sldId="271"/>
        </pc:sldMkLst>
      </pc:sldChg>
      <pc:sldChg chg="add del">
        <pc:chgData name="Devid Treuling" userId="59319ebe-00e0-4bed-b2ef-326bd7e50483" providerId="ADAL" clId="{398C985C-4939-4904-9544-A192F358B56A}" dt="2020-05-20T16:04:46.399" v="237"/>
        <pc:sldMkLst>
          <pc:docMk/>
          <pc:sldMk cId="515033839" sldId="271"/>
        </pc:sldMkLst>
      </pc:sldChg>
      <pc:sldChg chg="add del">
        <pc:chgData name="Devid Treuling" userId="59319ebe-00e0-4bed-b2ef-326bd7e50483" providerId="ADAL" clId="{398C985C-4939-4904-9544-A192F358B56A}" dt="2020-05-20T16:05:25.318" v="284" actId="2696"/>
        <pc:sldMkLst>
          <pc:docMk/>
          <pc:sldMk cId="573840639" sldId="271"/>
        </pc:sldMkLst>
      </pc:sldChg>
      <pc:sldChg chg="add del">
        <pc:chgData name="Devid Treuling" userId="59319ebe-00e0-4bed-b2ef-326bd7e50483" providerId="ADAL" clId="{398C985C-4939-4904-9544-A192F358B56A}" dt="2020-05-20T16:13:01.209" v="654" actId="2696"/>
        <pc:sldMkLst>
          <pc:docMk/>
          <pc:sldMk cId="610087979" sldId="271"/>
        </pc:sldMkLst>
      </pc:sldChg>
      <pc:sldChg chg="add del">
        <pc:chgData name="Devid Treuling" userId="59319ebe-00e0-4bed-b2ef-326bd7e50483" providerId="ADAL" clId="{398C985C-4939-4904-9544-A192F358B56A}" dt="2020-05-20T16:13:01.261" v="662" actId="2696"/>
        <pc:sldMkLst>
          <pc:docMk/>
          <pc:sldMk cId="672690545" sldId="271"/>
        </pc:sldMkLst>
      </pc:sldChg>
      <pc:sldChg chg="add del">
        <pc:chgData name="Devid Treuling" userId="59319ebe-00e0-4bed-b2ef-326bd7e50483" providerId="ADAL" clId="{398C985C-4939-4904-9544-A192F358B56A}" dt="2020-05-20T16:04:46.399" v="237"/>
        <pc:sldMkLst>
          <pc:docMk/>
          <pc:sldMk cId="673514535" sldId="271"/>
        </pc:sldMkLst>
      </pc:sldChg>
      <pc:sldChg chg="add del">
        <pc:chgData name="Devid Treuling" userId="59319ebe-00e0-4bed-b2ef-326bd7e50483" providerId="ADAL" clId="{398C985C-4939-4904-9544-A192F358B56A}" dt="2020-05-20T16:05:25.463" v="320" actId="2696"/>
        <pc:sldMkLst>
          <pc:docMk/>
          <pc:sldMk cId="695332406" sldId="271"/>
        </pc:sldMkLst>
      </pc:sldChg>
      <pc:sldChg chg="add del">
        <pc:chgData name="Devid Treuling" userId="59319ebe-00e0-4bed-b2ef-326bd7e50483" providerId="ADAL" clId="{398C985C-4939-4904-9544-A192F358B56A}" dt="2020-05-20T16:08:52.707" v="470" actId="2696"/>
        <pc:sldMkLst>
          <pc:docMk/>
          <pc:sldMk cId="701138289" sldId="271"/>
        </pc:sldMkLst>
      </pc:sldChg>
      <pc:sldChg chg="add del">
        <pc:chgData name="Devid Treuling" userId="59319ebe-00e0-4bed-b2ef-326bd7e50483" providerId="ADAL" clId="{398C985C-4939-4904-9544-A192F358B56A}" dt="2020-05-20T16:13:01.051" v="630" actId="2696"/>
        <pc:sldMkLst>
          <pc:docMk/>
          <pc:sldMk cId="723869927" sldId="271"/>
        </pc:sldMkLst>
      </pc:sldChg>
      <pc:sldChg chg="add del">
        <pc:chgData name="Devid Treuling" userId="59319ebe-00e0-4bed-b2ef-326bd7e50483" providerId="ADAL" clId="{398C985C-4939-4904-9544-A192F358B56A}" dt="2020-05-20T16:08:52.830" v="498" actId="2696"/>
        <pc:sldMkLst>
          <pc:docMk/>
          <pc:sldMk cId="725029371" sldId="271"/>
        </pc:sldMkLst>
      </pc:sldChg>
      <pc:sldChg chg="add del">
        <pc:chgData name="Devid Treuling" userId="59319ebe-00e0-4bed-b2ef-326bd7e50483" providerId="ADAL" clId="{398C985C-4939-4904-9544-A192F358B56A}" dt="2020-05-20T16:04:46.399" v="237"/>
        <pc:sldMkLst>
          <pc:docMk/>
          <pc:sldMk cId="733299046" sldId="271"/>
        </pc:sldMkLst>
      </pc:sldChg>
      <pc:sldChg chg="add del">
        <pc:chgData name="Devid Treuling" userId="59319ebe-00e0-4bed-b2ef-326bd7e50483" providerId="ADAL" clId="{398C985C-4939-4904-9544-A192F358B56A}" dt="2020-05-20T16:08:52.820" v="496" actId="2696"/>
        <pc:sldMkLst>
          <pc:docMk/>
          <pc:sldMk cId="782646269" sldId="271"/>
        </pc:sldMkLst>
      </pc:sldChg>
      <pc:sldChg chg="add del">
        <pc:chgData name="Devid Treuling" userId="59319ebe-00e0-4bed-b2ef-326bd7e50483" providerId="ADAL" clId="{398C985C-4939-4904-9544-A192F358B56A}" dt="2020-05-20T16:08:52.628" v="452" actId="2696"/>
        <pc:sldMkLst>
          <pc:docMk/>
          <pc:sldMk cId="794950587" sldId="271"/>
        </pc:sldMkLst>
      </pc:sldChg>
      <pc:sldChg chg="add del">
        <pc:chgData name="Devid Treuling" userId="59319ebe-00e0-4bed-b2ef-326bd7e50483" providerId="ADAL" clId="{398C985C-4939-4904-9544-A192F358B56A}" dt="2020-05-20T16:13:01.114" v="638" actId="2696"/>
        <pc:sldMkLst>
          <pc:docMk/>
          <pc:sldMk cId="917501674" sldId="271"/>
        </pc:sldMkLst>
      </pc:sldChg>
      <pc:sldChg chg="add del">
        <pc:chgData name="Devid Treuling" userId="59319ebe-00e0-4bed-b2ef-326bd7e50483" providerId="ADAL" clId="{398C985C-4939-4904-9544-A192F358B56A}" dt="2020-05-20T16:04:46.399" v="237"/>
        <pc:sldMkLst>
          <pc:docMk/>
          <pc:sldMk cId="936670317" sldId="271"/>
        </pc:sldMkLst>
      </pc:sldChg>
      <pc:sldChg chg="add del">
        <pc:chgData name="Devid Treuling" userId="59319ebe-00e0-4bed-b2ef-326bd7e50483" providerId="ADAL" clId="{398C985C-4939-4904-9544-A192F358B56A}" dt="2020-05-20T16:13:01.443" v="688" actId="2696"/>
        <pc:sldMkLst>
          <pc:docMk/>
          <pc:sldMk cId="944043278" sldId="271"/>
        </pc:sldMkLst>
      </pc:sldChg>
      <pc:sldChg chg="add del">
        <pc:chgData name="Devid Treuling" userId="59319ebe-00e0-4bed-b2ef-326bd7e50483" providerId="ADAL" clId="{398C985C-4939-4904-9544-A192F358B56A}" dt="2020-05-20T16:05:25.385" v="300" actId="2696"/>
        <pc:sldMkLst>
          <pc:docMk/>
          <pc:sldMk cId="966258844" sldId="271"/>
        </pc:sldMkLst>
      </pc:sldChg>
      <pc:sldChg chg="add del">
        <pc:chgData name="Devid Treuling" userId="59319ebe-00e0-4bed-b2ef-326bd7e50483" providerId="ADAL" clId="{398C985C-4939-4904-9544-A192F358B56A}" dt="2020-05-20T16:05:25.418" v="308" actId="2696"/>
        <pc:sldMkLst>
          <pc:docMk/>
          <pc:sldMk cId="997697209" sldId="271"/>
        </pc:sldMkLst>
      </pc:sldChg>
      <pc:sldChg chg="add del">
        <pc:chgData name="Devid Treuling" userId="59319ebe-00e0-4bed-b2ef-326bd7e50483" providerId="ADAL" clId="{398C985C-4939-4904-9544-A192F358B56A}" dt="2020-05-20T16:05:25.259" v="266" actId="2696"/>
        <pc:sldMkLst>
          <pc:docMk/>
          <pc:sldMk cId="1015620131" sldId="271"/>
        </pc:sldMkLst>
      </pc:sldChg>
      <pc:sldChg chg="add del">
        <pc:chgData name="Devid Treuling" userId="59319ebe-00e0-4bed-b2ef-326bd7e50483" providerId="ADAL" clId="{398C985C-4939-4904-9544-A192F358B56A}" dt="2020-05-20T16:08:52.657" v="458" actId="2696"/>
        <pc:sldMkLst>
          <pc:docMk/>
          <pc:sldMk cId="1037600215" sldId="271"/>
        </pc:sldMkLst>
      </pc:sldChg>
      <pc:sldChg chg="add del">
        <pc:chgData name="Devid Treuling" userId="59319ebe-00e0-4bed-b2ef-326bd7e50483" providerId="ADAL" clId="{398C985C-4939-4904-9544-A192F358B56A}" dt="2020-05-20T16:05:25.354" v="292" actId="2696"/>
        <pc:sldMkLst>
          <pc:docMk/>
          <pc:sldMk cId="1038066339" sldId="271"/>
        </pc:sldMkLst>
      </pc:sldChg>
      <pc:sldChg chg="add del">
        <pc:chgData name="Devid Treuling" userId="59319ebe-00e0-4bed-b2ef-326bd7e50483" providerId="ADAL" clId="{398C985C-4939-4904-9544-A192F358B56A}" dt="2020-05-20T16:04:46.399" v="237"/>
        <pc:sldMkLst>
          <pc:docMk/>
          <pc:sldMk cId="1093448140" sldId="271"/>
        </pc:sldMkLst>
      </pc:sldChg>
      <pc:sldChg chg="add del">
        <pc:chgData name="Devid Treuling" userId="59319ebe-00e0-4bed-b2ef-326bd7e50483" providerId="ADAL" clId="{398C985C-4939-4904-9544-A192F358B56A}" dt="2020-05-20T16:05:25.339" v="288" actId="2696"/>
        <pc:sldMkLst>
          <pc:docMk/>
          <pc:sldMk cId="1111256248" sldId="271"/>
        </pc:sldMkLst>
      </pc:sldChg>
      <pc:sldChg chg="add del">
        <pc:chgData name="Devid Treuling" userId="59319ebe-00e0-4bed-b2ef-326bd7e50483" providerId="ADAL" clId="{398C985C-4939-4904-9544-A192F358B56A}" dt="2020-05-20T16:05:25.248" v="262" actId="2696"/>
        <pc:sldMkLst>
          <pc:docMk/>
          <pc:sldMk cId="1121204164" sldId="271"/>
        </pc:sldMkLst>
      </pc:sldChg>
      <pc:sldChg chg="add del">
        <pc:chgData name="Devid Treuling" userId="59319ebe-00e0-4bed-b2ef-326bd7e50483" providerId="ADAL" clId="{398C985C-4939-4904-9544-A192F358B56A}" dt="2020-05-20T16:04:46.399" v="237"/>
        <pc:sldMkLst>
          <pc:docMk/>
          <pc:sldMk cId="1137313193" sldId="271"/>
        </pc:sldMkLst>
      </pc:sldChg>
      <pc:sldChg chg="add del">
        <pc:chgData name="Devid Treuling" userId="59319ebe-00e0-4bed-b2ef-326bd7e50483" providerId="ADAL" clId="{398C985C-4939-4904-9544-A192F358B56A}" dt="2020-05-20T16:04:46.399" v="237"/>
        <pc:sldMkLst>
          <pc:docMk/>
          <pc:sldMk cId="1145460840" sldId="271"/>
        </pc:sldMkLst>
      </pc:sldChg>
      <pc:sldChg chg="add del">
        <pc:chgData name="Devid Treuling" userId="59319ebe-00e0-4bed-b2ef-326bd7e50483" providerId="ADAL" clId="{398C985C-4939-4904-9544-A192F358B56A}" dt="2020-05-20T16:05:25.217" v="252" actId="2696"/>
        <pc:sldMkLst>
          <pc:docMk/>
          <pc:sldMk cId="1145535732" sldId="271"/>
        </pc:sldMkLst>
      </pc:sldChg>
      <pc:sldChg chg="add del">
        <pc:chgData name="Devid Treuling" userId="59319ebe-00e0-4bed-b2ef-326bd7e50483" providerId="ADAL" clId="{398C985C-4939-4904-9544-A192F358B56A}" dt="2020-05-20T16:04:46.399" v="237"/>
        <pc:sldMkLst>
          <pc:docMk/>
          <pc:sldMk cId="1158535527" sldId="271"/>
        </pc:sldMkLst>
      </pc:sldChg>
      <pc:sldChg chg="add del">
        <pc:chgData name="Devid Treuling" userId="59319ebe-00e0-4bed-b2ef-326bd7e50483" providerId="ADAL" clId="{398C985C-4939-4904-9544-A192F358B56A}" dt="2020-05-20T16:05:25.241" v="260" actId="2696"/>
        <pc:sldMkLst>
          <pc:docMk/>
          <pc:sldMk cId="1160752468" sldId="271"/>
        </pc:sldMkLst>
      </pc:sldChg>
      <pc:sldChg chg="add del">
        <pc:chgData name="Devid Treuling" userId="59319ebe-00e0-4bed-b2ef-326bd7e50483" providerId="ADAL" clId="{398C985C-4939-4904-9544-A192F358B56A}" dt="2020-05-20T16:05:25.235" v="258" actId="2696"/>
        <pc:sldMkLst>
          <pc:docMk/>
          <pc:sldMk cId="1223799680" sldId="271"/>
        </pc:sldMkLst>
      </pc:sldChg>
      <pc:sldChg chg="add del">
        <pc:chgData name="Devid Treuling" userId="59319ebe-00e0-4bed-b2ef-326bd7e50483" providerId="ADAL" clId="{398C985C-4939-4904-9544-A192F358B56A}" dt="2020-05-20T16:13:01.174" v="648" actId="2696"/>
        <pc:sldMkLst>
          <pc:docMk/>
          <pc:sldMk cId="1335682673" sldId="271"/>
        </pc:sldMkLst>
      </pc:sldChg>
      <pc:sldChg chg="add del">
        <pc:chgData name="Devid Treuling" userId="59319ebe-00e0-4bed-b2ef-326bd7e50483" providerId="ADAL" clId="{398C985C-4939-4904-9544-A192F358B56A}" dt="2020-05-20T16:13:01.036" v="628" actId="2696"/>
        <pc:sldMkLst>
          <pc:docMk/>
          <pc:sldMk cId="1395025649" sldId="271"/>
        </pc:sldMkLst>
      </pc:sldChg>
      <pc:sldChg chg="add del">
        <pc:chgData name="Devid Treuling" userId="59319ebe-00e0-4bed-b2ef-326bd7e50483" providerId="ADAL" clId="{398C985C-4939-4904-9544-A192F358B56A}" dt="2020-05-20T16:05:25.298" v="278" actId="2696"/>
        <pc:sldMkLst>
          <pc:docMk/>
          <pc:sldMk cId="1395600820" sldId="271"/>
        </pc:sldMkLst>
      </pc:sldChg>
      <pc:sldChg chg="add del">
        <pc:chgData name="Devid Treuling" userId="59319ebe-00e0-4bed-b2ef-326bd7e50483" providerId="ADAL" clId="{398C985C-4939-4904-9544-A192F358B56A}" dt="2020-05-20T16:08:52.600" v="446" actId="2696"/>
        <pc:sldMkLst>
          <pc:docMk/>
          <pc:sldMk cId="1438968381" sldId="271"/>
        </pc:sldMkLst>
      </pc:sldChg>
      <pc:sldChg chg="add del">
        <pc:chgData name="Devid Treuling" userId="59319ebe-00e0-4bed-b2ef-326bd7e50483" providerId="ADAL" clId="{398C985C-4939-4904-9544-A192F358B56A}" dt="2020-05-20T16:04:46.399" v="237"/>
        <pc:sldMkLst>
          <pc:docMk/>
          <pc:sldMk cId="1457766667" sldId="271"/>
        </pc:sldMkLst>
      </pc:sldChg>
      <pc:sldChg chg="add del">
        <pc:chgData name="Devid Treuling" userId="59319ebe-00e0-4bed-b2ef-326bd7e50483" providerId="ADAL" clId="{398C985C-4939-4904-9544-A192F358B56A}" dt="2020-05-20T16:08:52.787" v="488" actId="2696"/>
        <pc:sldMkLst>
          <pc:docMk/>
          <pc:sldMk cId="1463299695" sldId="271"/>
        </pc:sldMkLst>
      </pc:sldChg>
      <pc:sldChg chg="add del">
        <pc:chgData name="Devid Treuling" userId="59319ebe-00e0-4bed-b2ef-326bd7e50483" providerId="ADAL" clId="{398C985C-4939-4904-9544-A192F358B56A}" dt="2020-05-20T16:04:46.399" v="237"/>
        <pc:sldMkLst>
          <pc:docMk/>
          <pc:sldMk cId="1495312200" sldId="271"/>
        </pc:sldMkLst>
      </pc:sldChg>
      <pc:sldChg chg="add del">
        <pc:chgData name="Devid Treuling" userId="59319ebe-00e0-4bed-b2ef-326bd7e50483" providerId="ADAL" clId="{398C985C-4939-4904-9544-A192F358B56A}" dt="2020-05-20T16:13:01.385" v="682" actId="2696"/>
        <pc:sldMkLst>
          <pc:docMk/>
          <pc:sldMk cId="1500364237" sldId="271"/>
        </pc:sldMkLst>
      </pc:sldChg>
      <pc:sldChg chg="add del">
        <pc:chgData name="Devid Treuling" userId="59319ebe-00e0-4bed-b2ef-326bd7e50483" providerId="ADAL" clId="{398C985C-4939-4904-9544-A192F358B56A}" dt="2020-05-20T16:04:46.399" v="237"/>
        <pc:sldMkLst>
          <pc:docMk/>
          <pc:sldMk cId="1503837535" sldId="271"/>
        </pc:sldMkLst>
      </pc:sldChg>
      <pc:sldChg chg="add del">
        <pc:chgData name="Devid Treuling" userId="59319ebe-00e0-4bed-b2ef-326bd7e50483" providerId="ADAL" clId="{398C985C-4939-4904-9544-A192F358B56A}" dt="2020-05-20T16:08:52.724" v="474" actId="2696"/>
        <pc:sldMkLst>
          <pc:docMk/>
          <pc:sldMk cId="1504865335" sldId="271"/>
        </pc:sldMkLst>
      </pc:sldChg>
      <pc:sldChg chg="add del">
        <pc:chgData name="Devid Treuling" userId="59319ebe-00e0-4bed-b2ef-326bd7e50483" providerId="ADAL" clId="{398C985C-4939-4904-9544-A192F358B56A}" dt="2020-05-20T16:13:01.126" v="640" actId="2696"/>
        <pc:sldMkLst>
          <pc:docMk/>
          <pc:sldMk cId="1563055702" sldId="271"/>
        </pc:sldMkLst>
      </pc:sldChg>
      <pc:sldChg chg="add del">
        <pc:chgData name="Devid Treuling" userId="59319ebe-00e0-4bed-b2ef-326bd7e50483" providerId="ADAL" clId="{398C985C-4939-4904-9544-A192F358B56A}" dt="2020-05-20T16:13:01.022" v="626" actId="2696"/>
        <pc:sldMkLst>
          <pc:docMk/>
          <pc:sldMk cId="1569949796" sldId="271"/>
        </pc:sldMkLst>
      </pc:sldChg>
      <pc:sldChg chg="add del">
        <pc:chgData name="Devid Treuling" userId="59319ebe-00e0-4bed-b2ef-326bd7e50483" providerId="ADAL" clId="{398C985C-4939-4904-9544-A192F358B56A}" dt="2020-05-20T16:13:01.278" v="664" actId="2696"/>
        <pc:sldMkLst>
          <pc:docMk/>
          <pc:sldMk cId="1570116790" sldId="271"/>
        </pc:sldMkLst>
      </pc:sldChg>
      <pc:sldChg chg="add del">
        <pc:chgData name="Devid Treuling" userId="59319ebe-00e0-4bed-b2ef-326bd7e50483" providerId="ADAL" clId="{398C985C-4939-4904-9544-A192F358B56A}" dt="2020-05-20T16:13:01.433" v="686" actId="2696"/>
        <pc:sldMkLst>
          <pc:docMk/>
          <pc:sldMk cId="1583550797" sldId="271"/>
        </pc:sldMkLst>
      </pc:sldChg>
      <pc:sldChg chg="add del">
        <pc:chgData name="Devid Treuling" userId="59319ebe-00e0-4bed-b2ef-326bd7e50483" providerId="ADAL" clId="{398C985C-4939-4904-9544-A192F358B56A}" dt="2020-05-20T16:04:46.399" v="237"/>
        <pc:sldMkLst>
          <pc:docMk/>
          <pc:sldMk cId="1603416834" sldId="271"/>
        </pc:sldMkLst>
      </pc:sldChg>
      <pc:sldChg chg="add del">
        <pc:chgData name="Devid Treuling" userId="59319ebe-00e0-4bed-b2ef-326bd7e50483" providerId="ADAL" clId="{398C985C-4939-4904-9544-A192F358B56A}" dt="2020-05-20T16:08:52.574" v="440" actId="2696"/>
        <pc:sldMkLst>
          <pc:docMk/>
          <pc:sldMk cId="1604861710" sldId="271"/>
        </pc:sldMkLst>
      </pc:sldChg>
      <pc:sldChg chg="add del">
        <pc:chgData name="Devid Treuling" userId="59319ebe-00e0-4bed-b2ef-326bd7e50483" providerId="ADAL" clId="{398C985C-4939-4904-9544-A192F358B56A}" dt="2020-05-20T16:05:25.192" v="244" actId="2696"/>
        <pc:sldMkLst>
          <pc:docMk/>
          <pc:sldMk cId="1615732525" sldId="271"/>
        </pc:sldMkLst>
      </pc:sldChg>
      <pc:sldChg chg="add del">
        <pc:chgData name="Devid Treuling" userId="59319ebe-00e0-4bed-b2ef-326bd7e50483" providerId="ADAL" clId="{398C985C-4939-4904-9544-A192F358B56A}" dt="2020-05-20T16:13:00.913" v="608" actId="2696"/>
        <pc:sldMkLst>
          <pc:docMk/>
          <pc:sldMk cId="1712145510" sldId="271"/>
        </pc:sldMkLst>
      </pc:sldChg>
      <pc:sldChg chg="add del">
        <pc:chgData name="Devid Treuling" userId="59319ebe-00e0-4bed-b2ef-326bd7e50483" providerId="ADAL" clId="{398C985C-4939-4904-9544-A192F358B56A}" dt="2020-05-20T16:05:25.311" v="282" actId="2696"/>
        <pc:sldMkLst>
          <pc:docMk/>
          <pc:sldMk cId="1726951149" sldId="271"/>
        </pc:sldMkLst>
      </pc:sldChg>
      <pc:sldChg chg="add del">
        <pc:chgData name="Devid Treuling" userId="59319ebe-00e0-4bed-b2ef-326bd7e50483" providerId="ADAL" clId="{398C985C-4939-4904-9544-A192F358B56A}" dt="2020-05-20T16:04:46.399" v="237"/>
        <pc:sldMkLst>
          <pc:docMk/>
          <pc:sldMk cId="1730290030" sldId="271"/>
        </pc:sldMkLst>
      </pc:sldChg>
      <pc:sldChg chg="add del">
        <pc:chgData name="Devid Treuling" userId="59319ebe-00e0-4bed-b2ef-326bd7e50483" providerId="ADAL" clId="{398C985C-4939-4904-9544-A192F358B56A}" dt="2020-05-20T16:08:52.649" v="456" actId="2696"/>
        <pc:sldMkLst>
          <pc:docMk/>
          <pc:sldMk cId="1738537227" sldId="271"/>
        </pc:sldMkLst>
      </pc:sldChg>
      <pc:sldChg chg="add del">
        <pc:chgData name="Devid Treuling" userId="59319ebe-00e0-4bed-b2ef-326bd7e50483" providerId="ADAL" clId="{398C985C-4939-4904-9544-A192F358B56A}" dt="2020-05-20T16:08:52.846" v="502" actId="2696"/>
        <pc:sldMkLst>
          <pc:docMk/>
          <pc:sldMk cId="1769629403" sldId="271"/>
        </pc:sldMkLst>
      </pc:sldChg>
      <pc:sldChg chg="add del">
        <pc:chgData name="Devid Treuling" userId="59319ebe-00e0-4bed-b2ef-326bd7e50483" providerId="ADAL" clId="{398C985C-4939-4904-9544-A192F358B56A}" dt="2020-05-20T16:05:25.292" v="276" actId="2696"/>
        <pc:sldMkLst>
          <pc:docMk/>
          <pc:sldMk cId="1778647977" sldId="271"/>
        </pc:sldMkLst>
      </pc:sldChg>
      <pc:sldChg chg="add del">
        <pc:chgData name="Devid Treuling" userId="59319ebe-00e0-4bed-b2ef-326bd7e50483" providerId="ADAL" clId="{398C985C-4939-4904-9544-A192F358B56A}" dt="2020-05-20T16:05:25.230" v="256" actId="2696"/>
        <pc:sldMkLst>
          <pc:docMk/>
          <pc:sldMk cId="1782384048" sldId="271"/>
        </pc:sldMkLst>
      </pc:sldChg>
      <pc:sldChg chg="add del">
        <pc:chgData name="Devid Treuling" userId="59319ebe-00e0-4bed-b2ef-326bd7e50483" providerId="ADAL" clId="{398C985C-4939-4904-9544-A192F358B56A}" dt="2020-05-20T16:08:52.535" v="430" actId="2696"/>
        <pc:sldMkLst>
          <pc:docMk/>
          <pc:sldMk cId="1790179800" sldId="271"/>
        </pc:sldMkLst>
      </pc:sldChg>
      <pc:sldChg chg="add del">
        <pc:chgData name="Devid Treuling" userId="59319ebe-00e0-4bed-b2ef-326bd7e50483" providerId="ADAL" clId="{398C985C-4939-4904-9544-A192F358B56A}" dt="2020-05-20T16:05:25.427" v="310" actId="2696"/>
        <pc:sldMkLst>
          <pc:docMk/>
          <pc:sldMk cId="1814732165" sldId="271"/>
        </pc:sldMkLst>
      </pc:sldChg>
      <pc:sldChg chg="add del">
        <pc:chgData name="Devid Treuling" userId="59319ebe-00e0-4bed-b2ef-326bd7e50483" providerId="ADAL" clId="{398C985C-4939-4904-9544-A192F358B56A}" dt="2020-05-20T16:04:46.399" v="237"/>
        <pc:sldMkLst>
          <pc:docMk/>
          <pc:sldMk cId="1864237439" sldId="271"/>
        </pc:sldMkLst>
      </pc:sldChg>
      <pc:sldChg chg="add del">
        <pc:chgData name="Devid Treuling" userId="59319ebe-00e0-4bed-b2ef-326bd7e50483" providerId="ADAL" clId="{398C985C-4939-4904-9544-A192F358B56A}" dt="2020-05-20T16:05:25.212" v="250" actId="2696"/>
        <pc:sldMkLst>
          <pc:docMk/>
          <pc:sldMk cId="1881680827" sldId="271"/>
        </pc:sldMkLst>
      </pc:sldChg>
      <pc:sldChg chg="add del">
        <pc:chgData name="Devid Treuling" userId="59319ebe-00e0-4bed-b2ef-326bd7e50483" providerId="ADAL" clId="{398C985C-4939-4904-9544-A192F358B56A}" dt="2020-05-20T16:04:46.399" v="237"/>
        <pc:sldMkLst>
          <pc:docMk/>
          <pc:sldMk cId="1932871552" sldId="271"/>
        </pc:sldMkLst>
      </pc:sldChg>
      <pc:sldChg chg="add del">
        <pc:chgData name="Devid Treuling" userId="59319ebe-00e0-4bed-b2ef-326bd7e50483" providerId="ADAL" clId="{398C985C-4939-4904-9544-A192F358B56A}" dt="2020-05-20T16:04:46.399" v="237"/>
        <pc:sldMkLst>
          <pc:docMk/>
          <pc:sldMk cId="2025420531" sldId="271"/>
        </pc:sldMkLst>
      </pc:sldChg>
      <pc:sldChg chg="add del">
        <pc:chgData name="Devid Treuling" userId="59319ebe-00e0-4bed-b2ef-326bd7e50483" providerId="ADAL" clId="{398C985C-4939-4904-9544-A192F358B56A}" dt="2020-05-20T16:04:46.399" v="237"/>
        <pc:sldMkLst>
          <pc:docMk/>
          <pc:sldMk cId="2030923944" sldId="271"/>
        </pc:sldMkLst>
      </pc:sldChg>
      <pc:sldChg chg="add del">
        <pc:chgData name="Devid Treuling" userId="59319ebe-00e0-4bed-b2ef-326bd7e50483" providerId="ADAL" clId="{398C985C-4939-4904-9544-A192F358B56A}" dt="2020-05-20T16:04:46.399" v="237"/>
        <pc:sldMkLst>
          <pc:docMk/>
          <pc:sldMk cId="2037232021" sldId="271"/>
        </pc:sldMkLst>
      </pc:sldChg>
      <pc:sldChg chg="add del">
        <pc:chgData name="Devid Treuling" userId="59319ebe-00e0-4bed-b2ef-326bd7e50483" providerId="ADAL" clId="{398C985C-4939-4904-9544-A192F358B56A}" dt="2020-05-20T16:05:25.198" v="246" actId="2696"/>
        <pc:sldMkLst>
          <pc:docMk/>
          <pc:sldMk cId="2070561891" sldId="271"/>
        </pc:sldMkLst>
      </pc:sldChg>
      <pc:sldChg chg="add del">
        <pc:chgData name="Devid Treuling" userId="59319ebe-00e0-4bed-b2ef-326bd7e50483" providerId="ADAL" clId="{398C985C-4939-4904-9544-A192F358B56A}" dt="2020-05-20T16:05:25.434" v="312" actId="2696"/>
        <pc:sldMkLst>
          <pc:docMk/>
          <pc:sldMk cId="2079631904" sldId="271"/>
        </pc:sldMkLst>
      </pc:sldChg>
      <pc:sldChg chg="add del">
        <pc:chgData name="Devid Treuling" userId="59319ebe-00e0-4bed-b2ef-326bd7e50483" providerId="ADAL" clId="{398C985C-4939-4904-9544-A192F358B56A}" dt="2020-05-20T16:08:52.771" v="484" actId="2696"/>
        <pc:sldMkLst>
          <pc:docMk/>
          <pc:sldMk cId="2082663959" sldId="271"/>
        </pc:sldMkLst>
      </pc:sldChg>
      <pc:sldChg chg="add del">
        <pc:chgData name="Devid Treuling" userId="59319ebe-00e0-4bed-b2ef-326bd7e50483" providerId="ADAL" clId="{398C985C-4939-4904-9544-A192F358B56A}" dt="2020-05-20T16:13:01.139" v="642" actId="2696"/>
        <pc:sldMkLst>
          <pc:docMk/>
          <pc:sldMk cId="2112051054" sldId="271"/>
        </pc:sldMkLst>
      </pc:sldChg>
      <pc:sldChg chg="add del">
        <pc:chgData name="Devid Treuling" userId="59319ebe-00e0-4bed-b2ef-326bd7e50483" providerId="ADAL" clId="{398C985C-4939-4904-9544-A192F358B56A}" dt="2020-05-20T16:08:52.583" v="442" actId="2696"/>
        <pc:sldMkLst>
          <pc:docMk/>
          <pc:sldMk cId="2140907250" sldId="271"/>
        </pc:sldMkLst>
      </pc:sldChg>
      <pc:sldChg chg="add del">
        <pc:chgData name="Devid Treuling" userId="59319ebe-00e0-4bed-b2ef-326bd7e50483" providerId="ADAL" clId="{398C985C-4939-4904-9544-A192F358B56A}" dt="2020-05-20T16:05:25.223" v="254" actId="2696"/>
        <pc:sldMkLst>
          <pc:docMk/>
          <pc:sldMk cId="2145436157" sldId="271"/>
        </pc:sldMkLst>
      </pc:sldChg>
      <pc:sldChg chg="add del">
        <pc:chgData name="Devid Treuling" userId="59319ebe-00e0-4bed-b2ef-326bd7e50483" providerId="ADAL" clId="{398C985C-4939-4904-9544-A192F358B56A}" dt="2020-05-20T16:05:25.186" v="242" actId="2696"/>
        <pc:sldMkLst>
          <pc:docMk/>
          <pc:sldMk cId="2210839292" sldId="271"/>
        </pc:sldMkLst>
      </pc:sldChg>
      <pc:sldChg chg="add del">
        <pc:chgData name="Devid Treuling" userId="59319ebe-00e0-4bed-b2ef-326bd7e50483" providerId="ADAL" clId="{398C985C-4939-4904-9544-A192F358B56A}" dt="2020-05-20T16:08:52.804" v="492" actId="2696"/>
        <pc:sldMkLst>
          <pc:docMk/>
          <pc:sldMk cId="2272272014" sldId="271"/>
        </pc:sldMkLst>
      </pc:sldChg>
      <pc:sldChg chg="add del">
        <pc:chgData name="Devid Treuling" userId="59319ebe-00e0-4bed-b2ef-326bd7e50483" providerId="ADAL" clId="{398C985C-4939-4904-9544-A192F358B56A}" dt="2020-05-20T16:13:00.927" v="610" actId="2696"/>
        <pc:sldMkLst>
          <pc:docMk/>
          <pc:sldMk cId="2285980336" sldId="271"/>
        </pc:sldMkLst>
      </pc:sldChg>
      <pc:sldChg chg="add del">
        <pc:chgData name="Devid Treuling" userId="59319ebe-00e0-4bed-b2ef-326bd7e50483" providerId="ADAL" clId="{398C985C-4939-4904-9544-A192F358B56A}" dt="2020-05-20T16:08:52.878" v="506" actId="2696"/>
        <pc:sldMkLst>
          <pc:docMk/>
          <pc:sldMk cId="2299279724" sldId="271"/>
        </pc:sldMkLst>
      </pc:sldChg>
      <pc:sldChg chg="add del">
        <pc:chgData name="Devid Treuling" userId="59319ebe-00e0-4bed-b2ef-326bd7e50483" providerId="ADAL" clId="{398C985C-4939-4904-9544-A192F358B56A}" dt="2020-05-20T16:08:52.869" v="504" actId="2696"/>
        <pc:sldMkLst>
          <pc:docMk/>
          <pc:sldMk cId="2322337479" sldId="271"/>
        </pc:sldMkLst>
      </pc:sldChg>
      <pc:sldChg chg="add del">
        <pc:chgData name="Devid Treuling" userId="59319ebe-00e0-4bed-b2ef-326bd7e50483" providerId="ADAL" clId="{398C985C-4939-4904-9544-A192F358B56A}" dt="2020-05-20T16:13:01.420" v="684" actId="2696"/>
        <pc:sldMkLst>
          <pc:docMk/>
          <pc:sldMk cId="2324328577" sldId="271"/>
        </pc:sldMkLst>
      </pc:sldChg>
      <pc:sldChg chg="add del">
        <pc:chgData name="Devid Treuling" userId="59319ebe-00e0-4bed-b2ef-326bd7e50483" providerId="ADAL" clId="{398C985C-4939-4904-9544-A192F358B56A}" dt="2020-05-20T16:05:25.457" v="318" actId="2696"/>
        <pc:sldMkLst>
          <pc:docMk/>
          <pc:sldMk cId="2410427694" sldId="271"/>
        </pc:sldMkLst>
      </pc:sldChg>
      <pc:sldChg chg="add del">
        <pc:chgData name="Devid Treuling" userId="59319ebe-00e0-4bed-b2ef-326bd7e50483" providerId="ADAL" clId="{398C985C-4939-4904-9544-A192F358B56A}" dt="2020-05-20T16:04:46.399" v="237"/>
        <pc:sldMkLst>
          <pc:docMk/>
          <pc:sldMk cId="2413444091" sldId="271"/>
        </pc:sldMkLst>
      </pc:sldChg>
      <pc:sldChg chg="add del">
        <pc:chgData name="Devid Treuling" userId="59319ebe-00e0-4bed-b2ef-326bd7e50483" providerId="ADAL" clId="{398C985C-4939-4904-9544-A192F358B56A}" dt="2020-05-20T16:13:00.938" v="612" actId="2696"/>
        <pc:sldMkLst>
          <pc:docMk/>
          <pc:sldMk cId="2423555278" sldId="271"/>
        </pc:sldMkLst>
      </pc:sldChg>
      <pc:sldChg chg="add del">
        <pc:chgData name="Devid Treuling" userId="59319ebe-00e0-4bed-b2ef-326bd7e50483" providerId="ADAL" clId="{398C985C-4939-4904-9544-A192F358B56A}" dt="2020-05-20T16:08:52.566" v="438" actId="2696"/>
        <pc:sldMkLst>
          <pc:docMk/>
          <pc:sldMk cId="2461512542" sldId="271"/>
        </pc:sldMkLst>
      </pc:sldChg>
      <pc:sldChg chg="add del">
        <pc:chgData name="Devid Treuling" userId="59319ebe-00e0-4bed-b2ef-326bd7e50483" providerId="ADAL" clId="{398C985C-4939-4904-9544-A192F358B56A}" dt="2020-05-20T16:08:52.733" v="476" actId="2696"/>
        <pc:sldMkLst>
          <pc:docMk/>
          <pc:sldMk cId="2473012113" sldId="271"/>
        </pc:sldMkLst>
      </pc:sldChg>
      <pc:sldChg chg="add del">
        <pc:chgData name="Devid Treuling" userId="59319ebe-00e0-4bed-b2ef-326bd7e50483" providerId="ADAL" clId="{398C985C-4939-4904-9544-A192F358B56A}" dt="2020-05-20T16:13:01.085" v="634" actId="2696"/>
        <pc:sldMkLst>
          <pc:docMk/>
          <pc:sldMk cId="2498035731" sldId="271"/>
        </pc:sldMkLst>
      </pc:sldChg>
      <pc:sldChg chg="add del">
        <pc:chgData name="Devid Treuling" userId="59319ebe-00e0-4bed-b2ef-326bd7e50483" providerId="ADAL" clId="{398C985C-4939-4904-9544-A192F358B56A}" dt="2020-05-20T16:05:25.489" v="324" actId="2696"/>
        <pc:sldMkLst>
          <pc:docMk/>
          <pc:sldMk cId="2537869755" sldId="271"/>
        </pc:sldMkLst>
      </pc:sldChg>
      <pc:sldChg chg="add del">
        <pc:chgData name="Devid Treuling" userId="59319ebe-00e0-4bed-b2ef-326bd7e50483" providerId="ADAL" clId="{398C985C-4939-4904-9544-A192F358B56A}" dt="2020-05-20T16:08:52.813" v="494" actId="2696"/>
        <pc:sldMkLst>
          <pc:docMk/>
          <pc:sldMk cId="2568060645" sldId="271"/>
        </pc:sldMkLst>
      </pc:sldChg>
      <pc:sldChg chg="add del">
        <pc:chgData name="Devid Treuling" userId="59319ebe-00e0-4bed-b2ef-326bd7e50483" providerId="ADAL" clId="{398C985C-4939-4904-9544-A192F358B56A}" dt="2020-05-20T16:08:52.508" v="424" actId="2696"/>
        <pc:sldMkLst>
          <pc:docMk/>
          <pc:sldMk cId="2593929225" sldId="271"/>
        </pc:sldMkLst>
      </pc:sldChg>
      <pc:sldChg chg="add del">
        <pc:chgData name="Devid Treuling" userId="59319ebe-00e0-4bed-b2ef-326bd7e50483" providerId="ADAL" clId="{398C985C-4939-4904-9544-A192F358B56A}" dt="2020-05-20T16:05:25.403" v="304" actId="2696"/>
        <pc:sldMkLst>
          <pc:docMk/>
          <pc:sldMk cId="2596949577" sldId="271"/>
        </pc:sldMkLst>
      </pc:sldChg>
      <pc:sldChg chg="add del">
        <pc:chgData name="Devid Treuling" userId="59319ebe-00e0-4bed-b2ef-326bd7e50483" providerId="ADAL" clId="{398C985C-4939-4904-9544-A192F358B56A}" dt="2020-05-20T16:04:46.399" v="237"/>
        <pc:sldMkLst>
          <pc:docMk/>
          <pc:sldMk cId="2635994018" sldId="271"/>
        </pc:sldMkLst>
      </pc:sldChg>
      <pc:sldChg chg="add del">
        <pc:chgData name="Devid Treuling" userId="59319ebe-00e0-4bed-b2ef-326bd7e50483" providerId="ADAL" clId="{398C985C-4939-4904-9544-A192F358B56A}" dt="2020-05-20T16:05:25.204" v="248" actId="2696"/>
        <pc:sldMkLst>
          <pc:docMk/>
          <pc:sldMk cId="2804341784" sldId="271"/>
        </pc:sldMkLst>
      </pc:sldChg>
      <pc:sldChg chg="add del">
        <pc:chgData name="Devid Treuling" userId="59319ebe-00e0-4bed-b2ef-326bd7e50483" providerId="ADAL" clId="{398C985C-4939-4904-9544-A192F358B56A}" dt="2020-05-20T16:13:01.233" v="658" actId="2696"/>
        <pc:sldMkLst>
          <pc:docMk/>
          <pc:sldMk cId="2806329267" sldId="271"/>
        </pc:sldMkLst>
      </pc:sldChg>
      <pc:sldChg chg="add del">
        <pc:chgData name="Devid Treuling" userId="59319ebe-00e0-4bed-b2ef-326bd7e50483" providerId="ADAL" clId="{398C985C-4939-4904-9544-A192F358B56A}" dt="2020-05-20T16:04:46.399" v="237"/>
        <pc:sldMkLst>
          <pc:docMk/>
          <pc:sldMk cId="2896514504" sldId="271"/>
        </pc:sldMkLst>
      </pc:sldChg>
      <pc:sldChg chg="add del">
        <pc:chgData name="Devid Treuling" userId="59319ebe-00e0-4bed-b2ef-326bd7e50483" providerId="ADAL" clId="{398C985C-4939-4904-9544-A192F358B56A}" dt="2020-05-20T16:13:01.289" v="666" actId="2696"/>
        <pc:sldMkLst>
          <pc:docMk/>
          <pc:sldMk cId="2917434561" sldId="271"/>
        </pc:sldMkLst>
      </pc:sldChg>
      <pc:sldChg chg="add del">
        <pc:chgData name="Devid Treuling" userId="59319ebe-00e0-4bed-b2ef-326bd7e50483" providerId="ADAL" clId="{398C985C-4939-4904-9544-A192F358B56A}" dt="2020-05-20T16:08:52.666" v="460" actId="2696"/>
        <pc:sldMkLst>
          <pc:docMk/>
          <pc:sldMk cId="2935736801" sldId="271"/>
        </pc:sldMkLst>
      </pc:sldChg>
      <pc:sldChg chg="add del">
        <pc:chgData name="Devid Treuling" userId="59319ebe-00e0-4bed-b2ef-326bd7e50483" providerId="ADAL" clId="{398C985C-4939-4904-9544-A192F358B56A}" dt="2020-05-20T16:13:01.185" v="650" actId="2696"/>
        <pc:sldMkLst>
          <pc:docMk/>
          <pc:sldMk cId="2943515219" sldId="271"/>
        </pc:sldMkLst>
      </pc:sldChg>
      <pc:sldChg chg="add del">
        <pc:chgData name="Devid Treuling" userId="59319ebe-00e0-4bed-b2ef-326bd7e50483" providerId="ADAL" clId="{398C985C-4939-4904-9544-A192F358B56A}" dt="2020-05-20T16:05:25.306" v="280" actId="2696"/>
        <pc:sldMkLst>
          <pc:docMk/>
          <pc:sldMk cId="2961772710" sldId="271"/>
        </pc:sldMkLst>
      </pc:sldChg>
      <pc:sldChg chg="add del">
        <pc:chgData name="Devid Treuling" userId="59319ebe-00e0-4bed-b2ef-326bd7e50483" providerId="ADAL" clId="{398C985C-4939-4904-9544-A192F358B56A}" dt="2020-05-20T16:08:52.524" v="428" actId="2696"/>
        <pc:sldMkLst>
          <pc:docMk/>
          <pc:sldMk cId="2978626763" sldId="271"/>
        </pc:sldMkLst>
      </pc:sldChg>
      <pc:sldChg chg="add del">
        <pc:chgData name="Devid Treuling" userId="59319ebe-00e0-4bed-b2ef-326bd7e50483" providerId="ADAL" clId="{398C985C-4939-4904-9544-A192F358B56A}" dt="2020-05-20T16:13:01.150" v="644" actId="2696"/>
        <pc:sldMkLst>
          <pc:docMk/>
          <pc:sldMk cId="3005520389" sldId="271"/>
        </pc:sldMkLst>
      </pc:sldChg>
      <pc:sldChg chg="add del">
        <pc:chgData name="Devid Treuling" userId="59319ebe-00e0-4bed-b2ef-326bd7e50483" providerId="ADAL" clId="{398C985C-4939-4904-9544-A192F358B56A}" dt="2020-05-20T16:04:46.399" v="237"/>
        <pc:sldMkLst>
          <pc:docMk/>
          <pc:sldMk cId="3009530665" sldId="271"/>
        </pc:sldMkLst>
      </pc:sldChg>
      <pc:sldChg chg="add del">
        <pc:chgData name="Devid Treuling" userId="59319ebe-00e0-4bed-b2ef-326bd7e50483" providerId="ADAL" clId="{398C985C-4939-4904-9544-A192F358B56A}" dt="2020-05-20T16:13:01.066" v="632" actId="2696"/>
        <pc:sldMkLst>
          <pc:docMk/>
          <pc:sldMk cId="3010590887" sldId="271"/>
        </pc:sldMkLst>
      </pc:sldChg>
      <pc:sldChg chg="add del">
        <pc:chgData name="Devid Treuling" userId="59319ebe-00e0-4bed-b2ef-326bd7e50483" providerId="ADAL" clId="{398C985C-4939-4904-9544-A192F358B56A}" dt="2020-05-20T16:13:00.975" v="618" actId="2696"/>
        <pc:sldMkLst>
          <pc:docMk/>
          <pc:sldMk cId="3023999743" sldId="271"/>
        </pc:sldMkLst>
      </pc:sldChg>
      <pc:sldChg chg="add del">
        <pc:chgData name="Devid Treuling" userId="59319ebe-00e0-4bed-b2ef-326bd7e50483" providerId="ADAL" clId="{398C985C-4939-4904-9544-A192F358B56A}" dt="2020-05-20T16:04:46.399" v="237"/>
        <pc:sldMkLst>
          <pc:docMk/>
          <pc:sldMk cId="3066480832" sldId="271"/>
        </pc:sldMkLst>
      </pc:sldChg>
      <pc:sldChg chg="add del">
        <pc:chgData name="Devid Treuling" userId="59319ebe-00e0-4bed-b2ef-326bd7e50483" providerId="ADAL" clId="{398C985C-4939-4904-9544-A192F358B56A}" dt="2020-05-20T16:05:25.378" v="298" actId="2696"/>
        <pc:sldMkLst>
          <pc:docMk/>
          <pc:sldMk cId="3068718577" sldId="271"/>
        </pc:sldMkLst>
      </pc:sldChg>
      <pc:sldChg chg="add del">
        <pc:chgData name="Devid Treuling" userId="59319ebe-00e0-4bed-b2ef-326bd7e50483" providerId="ADAL" clId="{398C985C-4939-4904-9544-A192F358B56A}" dt="2020-05-20T16:05:25.368" v="296" actId="2696"/>
        <pc:sldMkLst>
          <pc:docMk/>
          <pc:sldMk cId="3115304970" sldId="271"/>
        </pc:sldMkLst>
      </pc:sldChg>
      <pc:sldChg chg="add del">
        <pc:chgData name="Devid Treuling" userId="59319ebe-00e0-4bed-b2ef-326bd7e50483" providerId="ADAL" clId="{398C985C-4939-4904-9544-A192F358B56A}" dt="2020-05-20T16:04:46.399" v="237"/>
        <pc:sldMkLst>
          <pc:docMk/>
          <pc:sldMk cId="3134568875" sldId="271"/>
        </pc:sldMkLst>
      </pc:sldChg>
      <pc:sldChg chg="add del">
        <pc:chgData name="Devid Treuling" userId="59319ebe-00e0-4bed-b2ef-326bd7e50483" providerId="ADAL" clId="{398C985C-4939-4904-9544-A192F358B56A}" dt="2020-05-20T16:08:52.885" v="508" actId="2696"/>
        <pc:sldMkLst>
          <pc:docMk/>
          <pc:sldMk cId="3151999884" sldId="271"/>
        </pc:sldMkLst>
      </pc:sldChg>
      <pc:sldChg chg="add del">
        <pc:chgData name="Devid Treuling" userId="59319ebe-00e0-4bed-b2ef-326bd7e50483" providerId="ADAL" clId="{398C985C-4939-4904-9544-A192F358B56A}" dt="2020-05-20T16:13:00.999" v="622" actId="2696"/>
        <pc:sldMkLst>
          <pc:docMk/>
          <pc:sldMk cId="3152498557" sldId="271"/>
        </pc:sldMkLst>
      </pc:sldChg>
      <pc:sldChg chg="add del">
        <pc:chgData name="Devid Treuling" userId="59319ebe-00e0-4bed-b2ef-326bd7e50483" providerId="ADAL" clId="{398C985C-4939-4904-9544-A192F358B56A}" dt="2020-05-20T16:08:52.674" v="462" actId="2696"/>
        <pc:sldMkLst>
          <pc:docMk/>
          <pc:sldMk cId="3155697806" sldId="271"/>
        </pc:sldMkLst>
      </pc:sldChg>
      <pc:sldChg chg="add del">
        <pc:chgData name="Devid Treuling" userId="59319ebe-00e0-4bed-b2ef-326bd7e50483" providerId="ADAL" clId="{398C985C-4939-4904-9544-A192F358B56A}" dt="2020-05-20T16:05:25.330" v="286" actId="2696"/>
        <pc:sldMkLst>
          <pc:docMk/>
          <pc:sldMk cId="3225417692" sldId="271"/>
        </pc:sldMkLst>
      </pc:sldChg>
      <pc:sldChg chg="add del">
        <pc:chgData name="Devid Treuling" userId="59319ebe-00e0-4bed-b2ef-326bd7e50483" providerId="ADAL" clId="{398C985C-4939-4904-9544-A192F358B56A}" dt="2020-05-20T16:08:52.499" v="422" actId="2696"/>
        <pc:sldMkLst>
          <pc:docMk/>
          <pc:sldMk cId="3234237962" sldId="271"/>
        </pc:sldMkLst>
      </pc:sldChg>
      <pc:sldChg chg="add del">
        <pc:chgData name="Devid Treuling" userId="59319ebe-00e0-4bed-b2ef-326bd7e50483" providerId="ADAL" clId="{398C985C-4939-4904-9544-A192F358B56A}" dt="2020-05-20T16:05:25.470" v="322" actId="2696"/>
        <pc:sldMkLst>
          <pc:docMk/>
          <pc:sldMk cId="3248091811" sldId="271"/>
        </pc:sldMkLst>
      </pc:sldChg>
      <pc:sldChg chg="add del">
        <pc:chgData name="Devid Treuling" userId="59319ebe-00e0-4bed-b2ef-326bd7e50483" providerId="ADAL" clId="{398C985C-4939-4904-9544-A192F358B56A}" dt="2020-05-20T16:04:46.399" v="237"/>
        <pc:sldMkLst>
          <pc:docMk/>
          <pc:sldMk cId="3255801789" sldId="271"/>
        </pc:sldMkLst>
      </pc:sldChg>
      <pc:sldChg chg="add del">
        <pc:chgData name="Devid Treuling" userId="59319ebe-00e0-4bed-b2ef-326bd7e50483" providerId="ADAL" clId="{398C985C-4939-4904-9544-A192F358B56A}" dt="2020-05-20T16:08:52.550" v="434" actId="2696"/>
        <pc:sldMkLst>
          <pc:docMk/>
          <pc:sldMk cId="3302367121" sldId="271"/>
        </pc:sldMkLst>
      </pc:sldChg>
      <pc:sldChg chg="add del">
        <pc:chgData name="Devid Treuling" userId="59319ebe-00e0-4bed-b2ef-326bd7e50483" providerId="ADAL" clId="{398C985C-4939-4904-9544-A192F358B56A}" dt="2020-05-20T16:04:46.399" v="237"/>
        <pc:sldMkLst>
          <pc:docMk/>
          <pc:sldMk cId="3308381796" sldId="271"/>
        </pc:sldMkLst>
      </pc:sldChg>
      <pc:sldChg chg="add del">
        <pc:chgData name="Devid Treuling" userId="59319ebe-00e0-4bed-b2ef-326bd7e50483" providerId="ADAL" clId="{398C985C-4939-4904-9544-A192F358B56A}" dt="2020-05-20T16:05:25.254" v="264" actId="2696"/>
        <pc:sldMkLst>
          <pc:docMk/>
          <pc:sldMk cId="3322032201" sldId="271"/>
        </pc:sldMkLst>
      </pc:sldChg>
      <pc:sldChg chg="add del">
        <pc:chgData name="Devid Treuling" userId="59319ebe-00e0-4bed-b2ef-326bd7e50483" providerId="ADAL" clId="{398C985C-4939-4904-9544-A192F358B56A}" dt="2020-05-20T16:04:46.399" v="237"/>
        <pc:sldMkLst>
          <pc:docMk/>
          <pc:sldMk cId="3339277636" sldId="271"/>
        </pc:sldMkLst>
      </pc:sldChg>
      <pc:sldChg chg="add del">
        <pc:chgData name="Devid Treuling" userId="59319ebe-00e0-4bed-b2ef-326bd7e50483" providerId="ADAL" clId="{398C985C-4939-4904-9544-A192F358B56A}" dt="2020-05-20T16:08:52.779" v="486" actId="2696"/>
        <pc:sldMkLst>
          <pc:docMk/>
          <pc:sldMk cId="3358489515" sldId="271"/>
        </pc:sldMkLst>
      </pc:sldChg>
      <pc:sldChg chg="add del">
        <pc:chgData name="Devid Treuling" userId="59319ebe-00e0-4bed-b2ef-326bd7e50483" providerId="ADAL" clId="{398C985C-4939-4904-9544-A192F358B56A}" dt="2020-05-20T16:08:52.743" v="478" actId="2696"/>
        <pc:sldMkLst>
          <pc:docMk/>
          <pc:sldMk cId="3471499296" sldId="271"/>
        </pc:sldMkLst>
      </pc:sldChg>
      <pc:sldChg chg="add del">
        <pc:chgData name="Devid Treuling" userId="59319ebe-00e0-4bed-b2ef-326bd7e50483" providerId="ADAL" clId="{398C985C-4939-4904-9544-A192F358B56A}" dt="2020-05-20T16:08:52.760" v="482" actId="2696"/>
        <pc:sldMkLst>
          <pc:docMk/>
          <pc:sldMk cId="3471889803" sldId="271"/>
        </pc:sldMkLst>
      </pc:sldChg>
      <pc:sldChg chg="add del">
        <pc:chgData name="Devid Treuling" userId="59319ebe-00e0-4bed-b2ef-326bd7e50483" providerId="ADAL" clId="{398C985C-4939-4904-9544-A192F358B56A}" dt="2020-05-20T16:13:01.316" v="670" actId="2696"/>
        <pc:sldMkLst>
          <pc:docMk/>
          <pc:sldMk cId="3478645113" sldId="271"/>
        </pc:sldMkLst>
      </pc:sldChg>
      <pc:sldChg chg="add del">
        <pc:chgData name="Devid Treuling" userId="59319ebe-00e0-4bed-b2ef-326bd7e50483" providerId="ADAL" clId="{398C985C-4939-4904-9544-A192F358B56A}" dt="2020-05-20T16:04:46.399" v="237"/>
        <pc:sldMkLst>
          <pc:docMk/>
          <pc:sldMk cId="3504034655" sldId="271"/>
        </pc:sldMkLst>
      </pc:sldChg>
      <pc:sldChg chg="add del">
        <pc:chgData name="Devid Treuling" userId="59319ebe-00e0-4bed-b2ef-326bd7e50483" providerId="ADAL" clId="{398C985C-4939-4904-9544-A192F358B56A}" dt="2020-05-20T16:13:01.301" v="668" actId="2696"/>
        <pc:sldMkLst>
          <pc:docMk/>
          <pc:sldMk cId="3515240560" sldId="271"/>
        </pc:sldMkLst>
      </pc:sldChg>
      <pc:sldChg chg="add del">
        <pc:chgData name="Devid Treuling" userId="59319ebe-00e0-4bed-b2ef-326bd7e50483" providerId="ADAL" clId="{398C985C-4939-4904-9544-A192F358B56A}" dt="2020-05-20T16:08:52.752" v="480" actId="2696"/>
        <pc:sldMkLst>
          <pc:docMk/>
          <pc:sldMk cId="3519742245" sldId="271"/>
        </pc:sldMkLst>
      </pc:sldChg>
      <pc:sldChg chg="add del">
        <pc:chgData name="Devid Treuling" userId="59319ebe-00e0-4bed-b2ef-326bd7e50483" providerId="ADAL" clId="{398C985C-4939-4904-9544-A192F358B56A}" dt="2020-05-20T16:05:25.273" v="270" actId="2696"/>
        <pc:sldMkLst>
          <pc:docMk/>
          <pc:sldMk cId="3526786170" sldId="271"/>
        </pc:sldMkLst>
      </pc:sldChg>
      <pc:sldChg chg="add del">
        <pc:chgData name="Devid Treuling" userId="59319ebe-00e0-4bed-b2ef-326bd7e50483" providerId="ADAL" clId="{398C985C-4939-4904-9544-A192F358B56A}" dt="2020-05-20T16:05:25.287" v="274" actId="2696"/>
        <pc:sldMkLst>
          <pc:docMk/>
          <pc:sldMk cId="3545029672" sldId="271"/>
        </pc:sldMkLst>
      </pc:sldChg>
      <pc:sldChg chg="add del">
        <pc:chgData name="Devid Treuling" userId="59319ebe-00e0-4bed-b2ef-326bd7e50483" providerId="ADAL" clId="{398C985C-4939-4904-9544-A192F358B56A}" dt="2020-05-20T16:04:46.399" v="237"/>
        <pc:sldMkLst>
          <pc:docMk/>
          <pc:sldMk cId="3558736246" sldId="271"/>
        </pc:sldMkLst>
      </pc:sldChg>
      <pc:sldChg chg="add del">
        <pc:chgData name="Devid Treuling" userId="59319ebe-00e0-4bed-b2ef-326bd7e50483" providerId="ADAL" clId="{398C985C-4939-4904-9544-A192F358B56A}" dt="2020-05-20T16:04:46.399" v="237"/>
        <pc:sldMkLst>
          <pc:docMk/>
          <pc:sldMk cId="3577409082" sldId="271"/>
        </pc:sldMkLst>
      </pc:sldChg>
      <pc:sldChg chg="add del">
        <pc:chgData name="Devid Treuling" userId="59319ebe-00e0-4bed-b2ef-326bd7e50483" providerId="ADAL" clId="{398C985C-4939-4904-9544-A192F358B56A}" dt="2020-05-20T16:05:25.449" v="316" actId="2696"/>
        <pc:sldMkLst>
          <pc:docMk/>
          <pc:sldMk cId="3617862044" sldId="271"/>
        </pc:sldMkLst>
      </pc:sldChg>
      <pc:sldChg chg="add del">
        <pc:chgData name="Devid Treuling" userId="59319ebe-00e0-4bed-b2ef-326bd7e50483" providerId="ADAL" clId="{398C985C-4939-4904-9544-A192F358B56A}" dt="2020-05-20T16:05:25.505" v="328" actId="2696"/>
        <pc:sldMkLst>
          <pc:docMk/>
          <pc:sldMk cId="3632801486" sldId="271"/>
        </pc:sldMkLst>
      </pc:sldChg>
      <pc:sldChg chg="add del">
        <pc:chgData name="Devid Treuling" userId="59319ebe-00e0-4bed-b2ef-326bd7e50483" providerId="ADAL" clId="{398C985C-4939-4904-9544-A192F358B56A}" dt="2020-05-20T16:05:25.361" v="294" actId="2696"/>
        <pc:sldMkLst>
          <pc:docMk/>
          <pc:sldMk cId="3633229947" sldId="271"/>
        </pc:sldMkLst>
      </pc:sldChg>
      <pc:sldChg chg="add del">
        <pc:chgData name="Devid Treuling" userId="59319ebe-00e0-4bed-b2ef-326bd7e50483" providerId="ADAL" clId="{398C985C-4939-4904-9544-A192F358B56A}" dt="2020-05-20T16:13:01.327" v="672" actId="2696"/>
        <pc:sldMkLst>
          <pc:docMk/>
          <pc:sldMk cId="3708133370" sldId="271"/>
        </pc:sldMkLst>
      </pc:sldChg>
      <pc:sldChg chg="add del">
        <pc:chgData name="Devid Treuling" userId="59319ebe-00e0-4bed-b2ef-326bd7e50483" providerId="ADAL" clId="{398C985C-4939-4904-9544-A192F358B56A}" dt="2020-05-20T16:05:25.393" v="302" actId="2696"/>
        <pc:sldMkLst>
          <pc:docMk/>
          <pc:sldMk cId="3713382052" sldId="271"/>
        </pc:sldMkLst>
      </pc:sldChg>
      <pc:sldChg chg="add del">
        <pc:chgData name="Devid Treuling" userId="59319ebe-00e0-4bed-b2ef-326bd7e50483" providerId="ADAL" clId="{398C985C-4939-4904-9544-A192F358B56A}" dt="2020-05-20T16:05:25.442" v="314" actId="2696"/>
        <pc:sldMkLst>
          <pc:docMk/>
          <pc:sldMk cId="3746515406" sldId="271"/>
        </pc:sldMkLst>
      </pc:sldChg>
      <pc:sldChg chg="add del">
        <pc:chgData name="Devid Treuling" userId="59319ebe-00e0-4bed-b2ef-326bd7e50483" providerId="ADAL" clId="{398C985C-4939-4904-9544-A192F358B56A}" dt="2020-05-20T16:13:01.220" v="656" actId="2696"/>
        <pc:sldMkLst>
          <pc:docMk/>
          <pc:sldMk cId="3803061972" sldId="271"/>
        </pc:sldMkLst>
      </pc:sldChg>
      <pc:sldChg chg="add del">
        <pc:chgData name="Devid Treuling" userId="59319ebe-00e0-4bed-b2ef-326bd7e50483" providerId="ADAL" clId="{398C985C-4939-4904-9544-A192F358B56A}" dt="2020-05-20T16:13:01.102" v="636" actId="2696"/>
        <pc:sldMkLst>
          <pc:docMk/>
          <pc:sldMk cId="3804608404" sldId="271"/>
        </pc:sldMkLst>
      </pc:sldChg>
      <pc:sldChg chg="add del">
        <pc:chgData name="Devid Treuling" userId="59319ebe-00e0-4bed-b2ef-326bd7e50483" providerId="ADAL" clId="{398C985C-4939-4904-9544-A192F358B56A}" dt="2020-05-20T16:04:46.399" v="237"/>
        <pc:sldMkLst>
          <pc:docMk/>
          <pc:sldMk cId="3820967589" sldId="271"/>
        </pc:sldMkLst>
      </pc:sldChg>
      <pc:sldChg chg="add del">
        <pc:chgData name="Devid Treuling" userId="59319ebe-00e0-4bed-b2ef-326bd7e50483" providerId="ADAL" clId="{398C985C-4939-4904-9544-A192F358B56A}" dt="2020-05-20T16:04:46.399" v="237"/>
        <pc:sldMkLst>
          <pc:docMk/>
          <pc:sldMk cId="3860819983" sldId="271"/>
        </pc:sldMkLst>
      </pc:sldChg>
      <pc:sldChg chg="add del">
        <pc:chgData name="Devid Treuling" userId="59319ebe-00e0-4bed-b2ef-326bd7e50483" providerId="ADAL" clId="{398C985C-4939-4904-9544-A192F358B56A}" dt="2020-05-20T16:04:46.399" v="237"/>
        <pc:sldMkLst>
          <pc:docMk/>
          <pc:sldMk cId="3861999348" sldId="271"/>
        </pc:sldMkLst>
      </pc:sldChg>
      <pc:sldChg chg="add del">
        <pc:chgData name="Devid Treuling" userId="59319ebe-00e0-4bed-b2ef-326bd7e50483" providerId="ADAL" clId="{398C985C-4939-4904-9544-A192F358B56A}" dt="2020-05-20T16:13:00.987" v="620" actId="2696"/>
        <pc:sldMkLst>
          <pc:docMk/>
          <pc:sldMk cId="3875115115" sldId="271"/>
        </pc:sldMkLst>
      </pc:sldChg>
      <pc:sldChg chg="add del">
        <pc:chgData name="Devid Treuling" userId="59319ebe-00e0-4bed-b2ef-326bd7e50483" providerId="ADAL" clId="{398C985C-4939-4904-9544-A192F358B56A}" dt="2020-05-20T16:13:01.353" v="676" actId="2696"/>
        <pc:sldMkLst>
          <pc:docMk/>
          <pc:sldMk cId="3889826737" sldId="271"/>
        </pc:sldMkLst>
      </pc:sldChg>
      <pc:sldChg chg="add del">
        <pc:chgData name="Devid Treuling" userId="59319ebe-00e0-4bed-b2ef-326bd7e50483" providerId="ADAL" clId="{398C985C-4939-4904-9544-A192F358B56A}" dt="2020-05-20T16:05:25.410" v="306" actId="2696"/>
        <pc:sldMkLst>
          <pc:docMk/>
          <pc:sldMk cId="3951038472" sldId="271"/>
        </pc:sldMkLst>
      </pc:sldChg>
      <pc:sldChg chg="add del">
        <pc:chgData name="Devid Treuling" userId="59319ebe-00e0-4bed-b2ef-326bd7e50483" providerId="ADAL" clId="{398C985C-4939-4904-9544-A192F358B56A}" dt="2020-05-20T16:04:46.399" v="237"/>
        <pc:sldMkLst>
          <pc:docMk/>
          <pc:sldMk cId="3962659254" sldId="271"/>
        </pc:sldMkLst>
      </pc:sldChg>
      <pc:sldChg chg="add del">
        <pc:chgData name="Devid Treuling" userId="59319ebe-00e0-4bed-b2ef-326bd7e50483" providerId="ADAL" clId="{398C985C-4939-4904-9544-A192F358B56A}" dt="2020-05-20T16:08:52.618" v="450" actId="2696"/>
        <pc:sldMkLst>
          <pc:docMk/>
          <pc:sldMk cId="3968900325" sldId="271"/>
        </pc:sldMkLst>
      </pc:sldChg>
      <pc:sldChg chg="add del">
        <pc:chgData name="Devid Treuling" userId="59319ebe-00e0-4bed-b2ef-326bd7e50483" providerId="ADAL" clId="{398C985C-4939-4904-9544-A192F358B56A}" dt="2020-05-20T16:08:52.716" v="472" actId="2696"/>
        <pc:sldMkLst>
          <pc:docMk/>
          <pc:sldMk cId="3990357291" sldId="271"/>
        </pc:sldMkLst>
      </pc:sldChg>
      <pc:sldChg chg="add del">
        <pc:chgData name="Devid Treuling" userId="59319ebe-00e0-4bed-b2ef-326bd7e50483" providerId="ADAL" clId="{398C985C-4939-4904-9544-A192F358B56A}" dt="2020-05-20T16:13:01.163" v="646" actId="2696"/>
        <pc:sldMkLst>
          <pc:docMk/>
          <pc:sldMk cId="4021555259" sldId="271"/>
        </pc:sldMkLst>
      </pc:sldChg>
      <pc:sldChg chg="add del">
        <pc:chgData name="Devid Treuling" userId="59319ebe-00e0-4bed-b2ef-326bd7e50483" providerId="ADAL" clId="{398C985C-4939-4904-9544-A192F358B56A}" dt="2020-05-20T16:13:01.199" v="652" actId="2696"/>
        <pc:sldMkLst>
          <pc:docMk/>
          <pc:sldMk cId="4027013660" sldId="271"/>
        </pc:sldMkLst>
      </pc:sldChg>
      <pc:sldChg chg="add del">
        <pc:chgData name="Devid Treuling" userId="59319ebe-00e0-4bed-b2ef-326bd7e50483" providerId="ADAL" clId="{398C985C-4939-4904-9544-A192F358B56A}" dt="2020-05-20T16:04:46.399" v="237"/>
        <pc:sldMkLst>
          <pc:docMk/>
          <pc:sldMk cId="4092232106" sldId="271"/>
        </pc:sldMkLst>
      </pc:sldChg>
      <pc:sldChg chg="add del">
        <pc:chgData name="Devid Treuling" userId="59319ebe-00e0-4bed-b2ef-326bd7e50483" providerId="ADAL" clId="{398C985C-4939-4904-9544-A192F358B56A}" dt="2020-05-20T16:05:25.267" v="268" actId="2696"/>
        <pc:sldMkLst>
          <pc:docMk/>
          <pc:sldMk cId="4102144873" sldId="271"/>
        </pc:sldMkLst>
      </pc:sldChg>
      <pc:sldChg chg="add del">
        <pc:chgData name="Devid Treuling" userId="59319ebe-00e0-4bed-b2ef-326bd7e50483" providerId="ADAL" clId="{398C985C-4939-4904-9544-A192F358B56A}" dt="2020-05-20T16:04:46.399" v="237"/>
        <pc:sldMkLst>
          <pc:docMk/>
          <pc:sldMk cId="4105628903" sldId="271"/>
        </pc:sldMkLst>
      </pc:sldChg>
      <pc:sldChg chg="add del">
        <pc:chgData name="Devid Treuling" userId="59319ebe-00e0-4bed-b2ef-326bd7e50483" providerId="ADAL" clId="{398C985C-4939-4904-9544-A192F358B56A}" dt="2020-05-20T16:08:52.691" v="466" actId="2696"/>
        <pc:sldMkLst>
          <pc:docMk/>
          <pc:sldMk cId="4154538183" sldId="271"/>
        </pc:sldMkLst>
      </pc:sldChg>
      <pc:sldChg chg="add del">
        <pc:chgData name="Devid Treuling" userId="59319ebe-00e0-4bed-b2ef-326bd7e50483" providerId="ADAL" clId="{398C985C-4939-4904-9544-A192F358B56A}" dt="2020-05-20T16:08:52.839" v="500" actId="2696"/>
        <pc:sldMkLst>
          <pc:docMk/>
          <pc:sldMk cId="4170583464" sldId="271"/>
        </pc:sldMkLst>
      </pc:sldChg>
      <pc:sldChg chg="add del">
        <pc:chgData name="Devid Treuling" userId="59319ebe-00e0-4bed-b2ef-326bd7e50483" providerId="ADAL" clId="{398C985C-4939-4904-9544-A192F358B56A}" dt="2020-05-20T16:13:00.949" v="614" actId="2696"/>
        <pc:sldMkLst>
          <pc:docMk/>
          <pc:sldMk cId="4180979615" sldId="271"/>
        </pc:sldMkLst>
      </pc:sldChg>
      <pc:sldChg chg="add del">
        <pc:chgData name="Devid Treuling" userId="59319ebe-00e0-4bed-b2ef-326bd7e50483" providerId="ADAL" clId="{398C985C-4939-4904-9544-A192F358B56A}" dt="2020-05-20T16:08:52.699" v="468" actId="2696"/>
        <pc:sldMkLst>
          <pc:docMk/>
          <pc:sldMk cId="4202439140" sldId="271"/>
        </pc:sldMkLst>
      </pc:sldChg>
      <pc:sldChg chg="add del">
        <pc:chgData name="Devid Treuling" userId="59319ebe-00e0-4bed-b2ef-326bd7e50483" providerId="ADAL" clId="{398C985C-4939-4904-9544-A192F358B56A}" dt="2020-05-20T16:08:52.796" v="490" actId="2696"/>
        <pc:sldMkLst>
          <pc:docMk/>
          <pc:sldMk cId="4208943033" sldId="271"/>
        </pc:sldMkLst>
      </pc:sldChg>
      <pc:sldChg chg="add del">
        <pc:chgData name="Devid Treuling" userId="59319ebe-00e0-4bed-b2ef-326bd7e50483" providerId="ADAL" clId="{398C985C-4939-4904-9544-A192F358B56A}" dt="2020-05-20T16:08:52.639" v="454" actId="2696"/>
        <pc:sldMkLst>
          <pc:docMk/>
          <pc:sldMk cId="4247461440" sldId="271"/>
        </pc:sldMkLst>
      </pc:sldChg>
      <pc:sldChg chg="add del">
        <pc:chgData name="Devid Treuling" userId="59319ebe-00e0-4bed-b2ef-326bd7e50483" providerId="ADAL" clId="{398C985C-4939-4904-9544-A192F358B56A}" dt="2020-05-20T16:05:25.497" v="326" actId="2696"/>
        <pc:sldMkLst>
          <pc:docMk/>
          <pc:sldMk cId="4262531944" sldId="271"/>
        </pc:sldMkLst>
      </pc:sldChg>
      <pc:sldChg chg="add del">
        <pc:chgData name="Devid Treuling" userId="59319ebe-00e0-4bed-b2ef-326bd7e50483" providerId="ADAL" clId="{398C985C-4939-4904-9544-A192F358B56A}" dt="2020-05-20T16:04:46.399" v="237"/>
        <pc:sldMkLst>
          <pc:docMk/>
          <pc:sldMk cId="4285258409" sldId="271"/>
        </pc:sldMkLst>
      </pc:sldChg>
      <pc:sldChg chg="add del">
        <pc:chgData name="Devid Treuling" userId="59319ebe-00e0-4bed-b2ef-326bd7e50483" providerId="ADAL" clId="{398C985C-4939-4904-9544-A192F358B56A}" dt="2020-05-20T16:13:01.365" v="678" actId="2696"/>
        <pc:sldMkLst>
          <pc:docMk/>
          <pc:sldMk cId="4292311958" sldId="271"/>
        </pc:sldMkLst>
      </pc:sldChg>
      <pc:sldMasterChg chg="addSp modSp add del addSldLayout delSldLayout">
        <pc:chgData name="Devid Treuling" userId="59319ebe-00e0-4bed-b2ef-326bd7e50483" providerId="ADAL" clId="{398C985C-4939-4904-9544-A192F358B56A}" dt="2020-05-20T16:04:45.595" v="192" actId="2696"/>
        <pc:sldMasterMkLst>
          <pc:docMk/>
          <pc:sldMasterMk cId="2651484743" sldId="2147483864"/>
        </pc:sldMasterMkLst>
        <pc:spChg chg="add mod">
          <ac:chgData name="Devid Treuling" userId="59319ebe-00e0-4bed-b2ef-326bd7e50483" providerId="ADAL" clId="{398C985C-4939-4904-9544-A192F358B56A}" dt="2020-05-20T16:04:17.045" v="0"/>
          <ac:spMkLst>
            <pc:docMk/>
            <pc:sldMasterMk cId="2651484743" sldId="2147483864"/>
            <ac:spMk id="2" creationId="{2CE15B16-B15B-4C97-B68A-638EA796364C}"/>
          </ac:spMkLst>
        </pc:spChg>
        <pc:spChg chg="add mod">
          <ac:chgData name="Devid Treuling" userId="59319ebe-00e0-4bed-b2ef-326bd7e50483" providerId="ADAL" clId="{398C985C-4939-4904-9544-A192F358B56A}" dt="2020-05-20T16:04:17.045" v="0"/>
          <ac:spMkLst>
            <pc:docMk/>
            <pc:sldMasterMk cId="2651484743" sldId="2147483864"/>
            <ac:spMk id="3" creationId="{D1756289-8BA9-47CC-8905-5F465C07470F}"/>
          </ac:spMkLst>
        </pc:spChg>
        <pc:spChg chg="add mod">
          <ac:chgData name="Devid Treuling" userId="59319ebe-00e0-4bed-b2ef-326bd7e50483" providerId="ADAL" clId="{398C985C-4939-4904-9544-A192F358B56A}" dt="2020-05-20T16:04:17.045" v="0"/>
          <ac:spMkLst>
            <pc:docMk/>
            <pc:sldMasterMk cId="2651484743" sldId="2147483864"/>
            <ac:spMk id="4" creationId="{53AFC883-3A4A-4493-B5C8-49728E9C102B}"/>
          </ac:spMkLst>
        </pc:spChg>
        <pc:spChg chg="add mod">
          <ac:chgData name="Devid Treuling" userId="59319ebe-00e0-4bed-b2ef-326bd7e50483" providerId="ADAL" clId="{398C985C-4939-4904-9544-A192F358B56A}" dt="2020-05-20T16:04:17.045" v="0"/>
          <ac:spMkLst>
            <pc:docMk/>
            <pc:sldMasterMk cId="2651484743" sldId="2147483864"/>
            <ac:spMk id="5" creationId="{1B0CE53B-908F-472F-902E-44CEC875B767}"/>
          </ac:spMkLst>
        </pc:spChg>
        <pc:spChg chg="add mod">
          <ac:chgData name="Devid Treuling" userId="59319ebe-00e0-4bed-b2ef-326bd7e50483" providerId="ADAL" clId="{398C985C-4939-4904-9544-A192F358B56A}" dt="2020-05-20T16:04:17.045" v="0"/>
          <ac:spMkLst>
            <pc:docMk/>
            <pc:sldMasterMk cId="2651484743" sldId="2147483864"/>
            <ac:spMk id="6" creationId="{60910DF6-470C-4FD2-AEB3-F91703A85F66}"/>
          </ac:spMkLst>
        </pc:spChg>
        <pc:sldLayoutChg chg="add del">
          <pc:chgData name="Devid Treuling" userId="59319ebe-00e0-4bed-b2ef-326bd7e50483" providerId="ADAL" clId="{398C985C-4939-4904-9544-A192F358B56A}" dt="2020-05-20T16:04:45.595" v="192" actId="2696"/>
          <pc:sldLayoutMkLst>
            <pc:docMk/>
            <pc:sldMasterMk cId="2651484743" sldId="2147483864"/>
            <pc:sldLayoutMk cId="1726332788" sldId="2147483865"/>
          </pc:sldLayoutMkLst>
        </pc:sldLayoutChg>
        <pc:sldLayoutChg chg="add del">
          <pc:chgData name="Devid Treuling" userId="59319ebe-00e0-4bed-b2ef-326bd7e50483" providerId="ADAL" clId="{398C985C-4939-4904-9544-A192F358B56A}" dt="2020-05-20T16:04:45.594" v="191" actId="2696"/>
          <pc:sldLayoutMkLst>
            <pc:docMk/>
            <pc:sldMasterMk cId="2651484743" sldId="2147483864"/>
            <pc:sldLayoutMk cId="4077783673" sldId="2147483866"/>
          </pc:sldLayoutMkLst>
        </pc:sldLayoutChg>
        <pc:sldLayoutChg chg="add del">
          <pc:chgData name="Devid Treuling" userId="59319ebe-00e0-4bed-b2ef-326bd7e50483" providerId="ADAL" clId="{398C985C-4939-4904-9544-A192F358B56A}" dt="2020-05-20T16:04:45.593" v="190" actId="2696"/>
          <pc:sldLayoutMkLst>
            <pc:docMk/>
            <pc:sldMasterMk cId="2651484743" sldId="2147483864"/>
            <pc:sldLayoutMk cId="3055791324" sldId="2147483867"/>
          </pc:sldLayoutMkLst>
        </pc:sldLayoutChg>
        <pc:sldLayoutChg chg="add del">
          <pc:chgData name="Devid Treuling" userId="59319ebe-00e0-4bed-b2ef-326bd7e50483" providerId="ADAL" clId="{398C985C-4939-4904-9544-A192F358B56A}" dt="2020-05-20T16:04:45.593" v="189" actId="2696"/>
          <pc:sldLayoutMkLst>
            <pc:docMk/>
            <pc:sldMasterMk cId="2651484743" sldId="2147483864"/>
            <pc:sldLayoutMk cId="4064112885" sldId="2147483868"/>
          </pc:sldLayoutMkLst>
        </pc:sldLayoutChg>
        <pc:sldLayoutChg chg="add del">
          <pc:chgData name="Devid Treuling" userId="59319ebe-00e0-4bed-b2ef-326bd7e50483" providerId="ADAL" clId="{398C985C-4939-4904-9544-A192F358B56A}" dt="2020-05-20T16:04:45.592" v="188" actId="2696"/>
          <pc:sldLayoutMkLst>
            <pc:docMk/>
            <pc:sldMasterMk cId="2651484743" sldId="2147483864"/>
            <pc:sldLayoutMk cId="3867488135" sldId="2147483869"/>
          </pc:sldLayoutMkLst>
        </pc:sldLayoutChg>
        <pc:sldLayoutChg chg="add del">
          <pc:chgData name="Devid Treuling" userId="59319ebe-00e0-4bed-b2ef-326bd7e50483" providerId="ADAL" clId="{398C985C-4939-4904-9544-A192F358B56A}" dt="2020-05-20T16:04:45.591" v="187" actId="2696"/>
          <pc:sldLayoutMkLst>
            <pc:docMk/>
            <pc:sldMasterMk cId="2651484743" sldId="2147483864"/>
            <pc:sldLayoutMk cId="1924743428" sldId="2147483870"/>
          </pc:sldLayoutMkLst>
        </pc:sldLayoutChg>
        <pc:sldLayoutChg chg="add del">
          <pc:chgData name="Devid Treuling" userId="59319ebe-00e0-4bed-b2ef-326bd7e50483" providerId="ADAL" clId="{398C985C-4939-4904-9544-A192F358B56A}" dt="2020-05-20T16:04:45.591" v="186" actId="2696"/>
          <pc:sldLayoutMkLst>
            <pc:docMk/>
            <pc:sldMasterMk cId="2651484743" sldId="2147483864"/>
            <pc:sldLayoutMk cId="4077229496" sldId="2147483871"/>
          </pc:sldLayoutMkLst>
        </pc:sldLayoutChg>
        <pc:sldLayoutChg chg="add del">
          <pc:chgData name="Devid Treuling" userId="59319ebe-00e0-4bed-b2ef-326bd7e50483" providerId="ADAL" clId="{398C985C-4939-4904-9544-A192F358B56A}" dt="2020-05-20T16:04:45.590" v="185" actId="2696"/>
          <pc:sldLayoutMkLst>
            <pc:docMk/>
            <pc:sldMasterMk cId="2651484743" sldId="2147483864"/>
            <pc:sldLayoutMk cId="2537157217" sldId="2147483872"/>
          </pc:sldLayoutMkLst>
        </pc:sldLayoutChg>
        <pc:sldLayoutChg chg="add del">
          <pc:chgData name="Devid Treuling" userId="59319ebe-00e0-4bed-b2ef-326bd7e50483" providerId="ADAL" clId="{398C985C-4939-4904-9544-A192F358B56A}" dt="2020-05-20T16:04:45.590" v="184" actId="2696"/>
          <pc:sldLayoutMkLst>
            <pc:docMk/>
            <pc:sldMasterMk cId="2651484743" sldId="2147483864"/>
            <pc:sldLayoutMk cId="1993860652" sldId="2147483873"/>
          </pc:sldLayoutMkLst>
        </pc:sldLayoutChg>
        <pc:sldLayoutChg chg="add del">
          <pc:chgData name="Devid Treuling" userId="59319ebe-00e0-4bed-b2ef-326bd7e50483" providerId="ADAL" clId="{398C985C-4939-4904-9544-A192F358B56A}" dt="2020-05-20T16:04:45.589" v="183" actId="2696"/>
          <pc:sldLayoutMkLst>
            <pc:docMk/>
            <pc:sldMasterMk cId="2651484743" sldId="2147483864"/>
            <pc:sldLayoutMk cId="3843053444" sldId="2147483874"/>
          </pc:sldLayoutMkLst>
        </pc:sldLayoutChg>
        <pc:sldLayoutChg chg="add del">
          <pc:chgData name="Devid Treuling" userId="59319ebe-00e0-4bed-b2ef-326bd7e50483" providerId="ADAL" clId="{398C985C-4939-4904-9544-A192F358B56A}" dt="2020-05-20T16:04:45.589" v="182" actId="2696"/>
          <pc:sldLayoutMkLst>
            <pc:docMk/>
            <pc:sldMasterMk cId="2651484743" sldId="2147483864"/>
            <pc:sldLayoutMk cId="3703745266" sldId="2147483875"/>
          </pc:sldLayoutMkLst>
        </pc:sldLayoutChg>
      </pc:sldMasterChg>
      <pc:sldMasterChg chg="addSp modSp del delSldLayout">
        <pc:chgData name="Devid Treuling" userId="59319ebe-00e0-4bed-b2ef-326bd7e50483" providerId="ADAL" clId="{398C985C-4939-4904-9544-A192F358B56A}" dt="2020-05-20T16:05:25.612" v="415" actId="2696"/>
        <pc:sldMasterMkLst>
          <pc:docMk/>
          <pc:sldMasterMk cId="3841622228" sldId="2147483864"/>
        </pc:sldMasterMkLst>
        <pc:spChg chg="add mod">
          <ac:chgData name="Devid Treuling" userId="59319ebe-00e0-4bed-b2ef-326bd7e50483" providerId="ADAL" clId="{398C985C-4939-4904-9544-A192F358B56A}" dt="2020-05-20T16:05:25.005" v="238"/>
          <ac:spMkLst>
            <pc:docMk/>
            <pc:sldMasterMk cId="3841622228" sldId="2147483864"/>
            <ac:spMk id="2" creationId="{BC80205A-1D71-426D-8B86-50F08C43DBC7}"/>
          </ac:spMkLst>
        </pc:spChg>
        <pc:spChg chg="add mod">
          <ac:chgData name="Devid Treuling" userId="59319ebe-00e0-4bed-b2ef-326bd7e50483" providerId="ADAL" clId="{398C985C-4939-4904-9544-A192F358B56A}" dt="2020-05-20T16:05:25.005" v="238"/>
          <ac:spMkLst>
            <pc:docMk/>
            <pc:sldMasterMk cId="3841622228" sldId="2147483864"/>
            <ac:spMk id="3" creationId="{DE4819E8-09DB-44E5-9F7C-CA9CA0AF5701}"/>
          </ac:spMkLst>
        </pc:spChg>
        <pc:spChg chg="add mod">
          <ac:chgData name="Devid Treuling" userId="59319ebe-00e0-4bed-b2ef-326bd7e50483" providerId="ADAL" clId="{398C985C-4939-4904-9544-A192F358B56A}" dt="2020-05-20T16:05:25.005" v="238"/>
          <ac:spMkLst>
            <pc:docMk/>
            <pc:sldMasterMk cId="3841622228" sldId="2147483864"/>
            <ac:spMk id="4" creationId="{B55C3FA7-5518-4DCC-A786-CDEF632264C2}"/>
          </ac:spMkLst>
        </pc:spChg>
        <pc:spChg chg="add mod">
          <ac:chgData name="Devid Treuling" userId="59319ebe-00e0-4bed-b2ef-326bd7e50483" providerId="ADAL" clId="{398C985C-4939-4904-9544-A192F358B56A}" dt="2020-05-20T16:05:25.005" v="238"/>
          <ac:spMkLst>
            <pc:docMk/>
            <pc:sldMasterMk cId="3841622228" sldId="2147483864"/>
            <ac:spMk id="5" creationId="{5D794B3F-34C9-4131-A3F7-73D485A88795}"/>
          </ac:spMkLst>
        </pc:spChg>
        <pc:spChg chg="add mod">
          <ac:chgData name="Devid Treuling" userId="59319ebe-00e0-4bed-b2ef-326bd7e50483" providerId="ADAL" clId="{398C985C-4939-4904-9544-A192F358B56A}" dt="2020-05-20T16:05:25.005" v="238"/>
          <ac:spMkLst>
            <pc:docMk/>
            <pc:sldMasterMk cId="3841622228" sldId="2147483864"/>
            <ac:spMk id="6" creationId="{5D8B3BE7-4094-446E-AEFD-22593C51CB00}"/>
          </ac:spMkLst>
        </pc:spChg>
        <pc:sldLayoutChg chg="del">
          <pc:chgData name="Devid Treuling" userId="59319ebe-00e0-4bed-b2ef-326bd7e50483" providerId="ADAL" clId="{398C985C-4939-4904-9544-A192F358B56A}" dt="2020-05-20T16:05:25.590" v="404" actId="2696"/>
          <pc:sldLayoutMkLst>
            <pc:docMk/>
            <pc:sldMasterMk cId="3841622228" sldId="2147483864"/>
            <pc:sldLayoutMk cId="1893573689" sldId="2147483865"/>
          </pc:sldLayoutMkLst>
        </pc:sldLayoutChg>
        <pc:sldLayoutChg chg="del">
          <pc:chgData name="Devid Treuling" userId="59319ebe-00e0-4bed-b2ef-326bd7e50483" providerId="ADAL" clId="{398C985C-4939-4904-9544-A192F358B56A}" dt="2020-05-20T16:05:25.592" v="405" actId="2696"/>
          <pc:sldLayoutMkLst>
            <pc:docMk/>
            <pc:sldMasterMk cId="3841622228" sldId="2147483864"/>
            <pc:sldLayoutMk cId="3399285681" sldId="2147483866"/>
          </pc:sldLayoutMkLst>
        </pc:sldLayoutChg>
        <pc:sldLayoutChg chg="del">
          <pc:chgData name="Devid Treuling" userId="59319ebe-00e0-4bed-b2ef-326bd7e50483" providerId="ADAL" clId="{398C985C-4939-4904-9544-A192F358B56A}" dt="2020-05-20T16:05:25.594" v="406" actId="2696"/>
          <pc:sldLayoutMkLst>
            <pc:docMk/>
            <pc:sldMasterMk cId="3841622228" sldId="2147483864"/>
            <pc:sldLayoutMk cId="2077479476" sldId="2147483867"/>
          </pc:sldLayoutMkLst>
        </pc:sldLayoutChg>
        <pc:sldLayoutChg chg="del">
          <pc:chgData name="Devid Treuling" userId="59319ebe-00e0-4bed-b2ef-326bd7e50483" providerId="ADAL" clId="{398C985C-4939-4904-9544-A192F358B56A}" dt="2020-05-20T16:05:25.596" v="407" actId="2696"/>
          <pc:sldLayoutMkLst>
            <pc:docMk/>
            <pc:sldMasterMk cId="3841622228" sldId="2147483864"/>
            <pc:sldLayoutMk cId="565445237" sldId="2147483868"/>
          </pc:sldLayoutMkLst>
        </pc:sldLayoutChg>
        <pc:sldLayoutChg chg="del">
          <pc:chgData name="Devid Treuling" userId="59319ebe-00e0-4bed-b2ef-326bd7e50483" providerId="ADAL" clId="{398C985C-4939-4904-9544-A192F358B56A}" dt="2020-05-20T16:05:25.598" v="408" actId="2696"/>
          <pc:sldLayoutMkLst>
            <pc:docMk/>
            <pc:sldMasterMk cId="3841622228" sldId="2147483864"/>
            <pc:sldLayoutMk cId="2255048477" sldId="2147483869"/>
          </pc:sldLayoutMkLst>
        </pc:sldLayoutChg>
        <pc:sldLayoutChg chg="del">
          <pc:chgData name="Devid Treuling" userId="59319ebe-00e0-4bed-b2ef-326bd7e50483" providerId="ADAL" clId="{398C985C-4939-4904-9544-A192F358B56A}" dt="2020-05-20T16:05:25.600" v="409" actId="2696"/>
          <pc:sldLayoutMkLst>
            <pc:docMk/>
            <pc:sldMasterMk cId="3841622228" sldId="2147483864"/>
            <pc:sldLayoutMk cId="421591625" sldId="2147483870"/>
          </pc:sldLayoutMkLst>
        </pc:sldLayoutChg>
        <pc:sldLayoutChg chg="del">
          <pc:chgData name="Devid Treuling" userId="59319ebe-00e0-4bed-b2ef-326bd7e50483" providerId="ADAL" clId="{398C985C-4939-4904-9544-A192F358B56A}" dt="2020-05-20T16:05:25.602" v="410" actId="2696"/>
          <pc:sldLayoutMkLst>
            <pc:docMk/>
            <pc:sldMasterMk cId="3841622228" sldId="2147483864"/>
            <pc:sldLayoutMk cId="2138353233" sldId="2147483871"/>
          </pc:sldLayoutMkLst>
        </pc:sldLayoutChg>
        <pc:sldLayoutChg chg="del">
          <pc:chgData name="Devid Treuling" userId="59319ebe-00e0-4bed-b2ef-326bd7e50483" providerId="ADAL" clId="{398C985C-4939-4904-9544-A192F358B56A}" dt="2020-05-20T16:05:25.604" v="411" actId="2696"/>
          <pc:sldLayoutMkLst>
            <pc:docMk/>
            <pc:sldMasterMk cId="3841622228" sldId="2147483864"/>
            <pc:sldLayoutMk cId="1753777085" sldId="2147483872"/>
          </pc:sldLayoutMkLst>
        </pc:sldLayoutChg>
        <pc:sldLayoutChg chg="del">
          <pc:chgData name="Devid Treuling" userId="59319ebe-00e0-4bed-b2ef-326bd7e50483" providerId="ADAL" clId="{398C985C-4939-4904-9544-A192F358B56A}" dt="2020-05-20T16:05:25.606" v="412" actId="2696"/>
          <pc:sldLayoutMkLst>
            <pc:docMk/>
            <pc:sldMasterMk cId="3841622228" sldId="2147483864"/>
            <pc:sldLayoutMk cId="470442704" sldId="2147483873"/>
          </pc:sldLayoutMkLst>
        </pc:sldLayoutChg>
        <pc:sldLayoutChg chg="del">
          <pc:chgData name="Devid Treuling" userId="59319ebe-00e0-4bed-b2ef-326bd7e50483" providerId="ADAL" clId="{398C985C-4939-4904-9544-A192F358B56A}" dt="2020-05-20T16:05:25.608" v="413" actId="2696"/>
          <pc:sldLayoutMkLst>
            <pc:docMk/>
            <pc:sldMasterMk cId="3841622228" sldId="2147483864"/>
            <pc:sldLayoutMk cId="3970212082" sldId="2147483874"/>
          </pc:sldLayoutMkLst>
        </pc:sldLayoutChg>
        <pc:sldLayoutChg chg="del">
          <pc:chgData name="Devid Treuling" userId="59319ebe-00e0-4bed-b2ef-326bd7e50483" providerId="ADAL" clId="{398C985C-4939-4904-9544-A192F358B56A}" dt="2020-05-20T16:05:25.610" v="414" actId="2696"/>
          <pc:sldLayoutMkLst>
            <pc:docMk/>
            <pc:sldMasterMk cId="3841622228" sldId="2147483864"/>
            <pc:sldLayoutMk cId="2960233629" sldId="2147483875"/>
          </pc:sldLayoutMkLst>
        </pc:sldLayoutChg>
      </pc:sldMasterChg>
      <pc:sldMasterChg chg="addSp modSp del delSldLayout">
        <pc:chgData name="Devid Treuling" userId="59319ebe-00e0-4bed-b2ef-326bd7e50483" providerId="ADAL" clId="{398C985C-4939-4904-9544-A192F358B56A}" dt="2020-05-20T16:08:52.987" v="595" actId="2696"/>
        <pc:sldMasterMkLst>
          <pc:docMk/>
          <pc:sldMasterMk cId="1358694653" sldId="2147483921"/>
        </pc:sldMasterMkLst>
        <pc:spChg chg="add mod">
          <ac:chgData name="Devid Treuling" userId="59319ebe-00e0-4bed-b2ef-326bd7e50483" providerId="ADAL" clId="{398C985C-4939-4904-9544-A192F358B56A}" dt="2020-05-20T16:08:52.015" v="417"/>
          <ac:spMkLst>
            <pc:docMk/>
            <pc:sldMasterMk cId="1358694653" sldId="2147483921"/>
            <ac:spMk id="2" creationId="{3B4B49F4-1210-4ACB-BE70-E1F8DFBBB0CC}"/>
          </ac:spMkLst>
        </pc:spChg>
        <pc:spChg chg="add mod">
          <ac:chgData name="Devid Treuling" userId="59319ebe-00e0-4bed-b2ef-326bd7e50483" providerId="ADAL" clId="{398C985C-4939-4904-9544-A192F358B56A}" dt="2020-05-20T16:08:52.015" v="417"/>
          <ac:spMkLst>
            <pc:docMk/>
            <pc:sldMasterMk cId="1358694653" sldId="2147483921"/>
            <ac:spMk id="3" creationId="{88897D7F-6BAB-40F7-B16B-FF31ADFB7561}"/>
          </ac:spMkLst>
        </pc:spChg>
        <pc:spChg chg="add mod">
          <ac:chgData name="Devid Treuling" userId="59319ebe-00e0-4bed-b2ef-326bd7e50483" providerId="ADAL" clId="{398C985C-4939-4904-9544-A192F358B56A}" dt="2020-05-20T16:08:52.015" v="417"/>
          <ac:spMkLst>
            <pc:docMk/>
            <pc:sldMasterMk cId="1358694653" sldId="2147483921"/>
            <ac:spMk id="4" creationId="{02CBD53F-CA10-482F-B703-AE06BC17C5E2}"/>
          </ac:spMkLst>
        </pc:spChg>
        <pc:spChg chg="add mod">
          <ac:chgData name="Devid Treuling" userId="59319ebe-00e0-4bed-b2ef-326bd7e50483" providerId="ADAL" clId="{398C985C-4939-4904-9544-A192F358B56A}" dt="2020-05-20T16:08:52.015" v="417"/>
          <ac:spMkLst>
            <pc:docMk/>
            <pc:sldMasterMk cId="1358694653" sldId="2147483921"/>
            <ac:spMk id="5" creationId="{BA349910-FFA5-4E99-AD48-57221A54FB50}"/>
          </ac:spMkLst>
        </pc:spChg>
        <pc:spChg chg="add mod">
          <ac:chgData name="Devid Treuling" userId="59319ebe-00e0-4bed-b2ef-326bd7e50483" providerId="ADAL" clId="{398C985C-4939-4904-9544-A192F358B56A}" dt="2020-05-20T16:08:52.015" v="417"/>
          <ac:spMkLst>
            <pc:docMk/>
            <pc:sldMasterMk cId="1358694653" sldId="2147483921"/>
            <ac:spMk id="6" creationId="{49D1DC12-2F7F-497C-866E-631BA5802EA4}"/>
          </ac:spMkLst>
        </pc:spChg>
        <pc:sldLayoutChg chg="del">
          <pc:chgData name="Devid Treuling" userId="59319ebe-00e0-4bed-b2ef-326bd7e50483" providerId="ADAL" clId="{398C985C-4939-4904-9544-A192F358B56A}" dt="2020-05-20T16:08:52.966" v="584" actId="2696"/>
          <pc:sldLayoutMkLst>
            <pc:docMk/>
            <pc:sldMasterMk cId="1358694653" sldId="2147483921"/>
            <pc:sldLayoutMk cId="2810436917" sldId="2147483922"/>
          </pc:sldLayoutMkLst>
        </pc:sldLayoutChg>
        <pc:sldLayoutChg chg="del">
          <pc:chgData name="Devid Treuling" userId="59319ebe-00e0-4bed-b2ef-326bd7e50483" providerId="ADAL" clId="{398C985C-4939-4904-9544-A192F358B56A}" dt="2020-05-20T16:08:52.969" v="585" actId="2696"/>
          <pc:sldLayoutMkLst>
            <pc:docMk/>
            <pc:sldMasterMk cId="1358694653" sldId="2147483921"/>
            <pc:sldLayoutMk cId="2721730055" sldId="2147483923"/>
          </pc:sldLayoutMkLst>
        </pc:sldLayoutChg>
        <pc:sldLayoutChg chg="del">
          <pc:chgData name="Devid Treuling" userId="59319ebe-00e0-4bed-b2ef-326bd7e50483" providerId="ADAL" clId="{398C985C-4939-4904-9544-A192F358B56A}" dt="2020-05-20T16:08:52.970" v="586" actId="2696"/>
          <pc:sldLayoutMkLst>
            <pc:docMk/>
            <pc:sldMasterMk cId="1358694653" sldId="2147483921"/>
            <pc:sldLayoutMk cId="3179144291" sldId="2147483924"/>
          </pc:sldLayoutMkLst>
        </pc:sldLayoutChg>
        <pc:sldLayoutChg chg="del">
          <pc:chgData name="Devid Treuling" userId="59319ebe-00e0-4bed-b2ef-326bd7e50483" providerId="ADAL" clId="{398C985C-4939-4904-9544-A192F358B56A}" dt="2020-05-20T16:08:52.972" v="587" actId="2696"/>
          <pc:sldLayoutMkLst>
            <pc:docMk/>
            <pc:sldMasterMk cId="1358694653" sldId="2147483921"/>
            <pc:sldLayoutMk cId="1442391696" sldId="2147483925"/>
          </pc:sldLayoutMkLst>
        </pc:sldLayoutChg>
        <pc:sldLayoutChg chg="del">
          <pc:chgData name="Devid Treuling" userId="59319ebe-00e0-4bed-b2ef-326bd7e50483" providerId="ADAL" clId="{398C985C-4939-4904-9544-A192F358B56A}" dt="2020-05-20T16:08:52.974" v="588" actId="2696"/>
          <pc:sldLayoutMkLst>
            <pc:docMk/>
            <pc:sldMasterMk cId="1358694653" sldId="2147483921"/>
            <pc:sldLayoutMk cId="1649204090" sldId="2147483926"/>
          </pc:sldLayoutMkLst>
        </pc:sldLayoutChg>
        <pc:sldLayoutChg chg="del">
          <pc:chgData name="Devid Treuling" userId="59319ebe-00e0-4bed-b2ef-326bd7e50483" providerId="ADAL" clId="{398C985C-4939-4904-9544-A192F358B56A}" dt="2020-05-20T16:08:52.976" v="589" actId="2696"/>
          <pc:sldLayoutMkLst>
            <pc:docMk/>
            <pc:sldMasterMk cId="1358694653" sldId="2147483921"/>
            <pc:sldLayoutMk cId="3852108103" sldId="2147483927"/>
          </pc:sldLayoutMkLst>
        </pc:sldLayoutChg>
        <pc:sldLayoutChg chg="del">
          <pc:chgData name="Devid Treuling" userId="59319ebe-00e0-4bed-b2ef-326bd7e50483" providerId="ADAL" clId="{398C985C-4939-4904-9544-A192F358B56A}" dt="2020-05-20T16:08:52.977" v="590" actId="2696"/>
          <pc:sldLayoutMkLst>
            <pc:docMk/>
            <pc:sldMasterMk cId="1358694653" sldId="2147483921"/>
            <pc:sldLayoutMk cId="1534802247" sldId="2147483928"/>
          </pc:sldLayoutMkLst>
        </pc:sldLayoutChg>
        <pc:sldLayoutChg chg="del">
          <pc:chgData name="Devid Treuling" userId="59319ebe-00e0-4bed-b2ef-326bd7e50483" providerId="ADAL" clId="{398C985C-4939-4904-9544-A192F358B56A}" dt="2020-05-20T16:08:52.979" v="591" actId="2696"/>
          <pc:sldLayoutMkLst>
            <pc:docMk/>
            <pc:sldMasterMk cId="1358694653" sldId="2147483921"/>
            <pc:sldLayoutMk cId="3265015643" sldId="2147483929"/>
          </pc:sldLayoutMkLst>
        </pc:sldLayoutChg>
        <pc:sldLayoutChg chg="del">
          <pc:chgData name="Devid Treuling" userId="59319ebe-00e0-4bed-b2ef-326bd7e50483" providerId="ADAL" clId="{398C985C-4939-4904-9544-A192F358B56A}" dt="2020-05-20T16:08:52.981" v="592" actId="2696"/>
          <pc:sldLayoutMkLst>
            <pc:docMk/>
            <pc:sldMasterMk cId="1358694653" sldId="2147483921"/>
            <pc:sldLayoutMk cId="3394884444" sldId="2147483930"/>
          </pc:sldLayoutMkLst>
        </pc:sldLayoutChg>
        <pc:sldLayoutChg chg="del">
          <pc:chgData name="Devid Treuling" userId="59319ebe-00e0-4bed-b2ef-326bd7e50483" providerId="ADAL" clId="{398C985C-4939-4904-9544-A192F358B56A}" dt="2020-05-20T16:08:52.983" v="593" actId="2696"/>
          <pc:sldLayoutMkLst>
            <pc:docMk/>
            <pc:sldMasterMk cId="1358694653" sldId="2147483921"/>
            <pc:sldLayoutMk cId="345827871" sldId="2147483931"/>
          </pc:sldLayoutMkLst>
        </pc:sldLayoutChg>
        <pc:sldLayoutChg chg="del">
          <pc:chgData name="Devid Treuling" userId="59319ebe-00e0-4bed-b2ef-326bd7e50483" providerId="ADAL" clId="{398C985C-4939-4904-9544-A192F358B56A}" dt="2020-05-20T16:08:52.984" v="594" actId="2696"/>
          <pc:sldLayoutMkLst>
            <pc:docMk/>
            <pc:sldMasterMk cId="1358694653" sldId="2147483921"/>
            <pc:sldLayoutMk cId="2518630061" sldId="2147483932"/>
          </pc:sldLayoutMkLst>
        </pc:sldLayoutChg>
      </pc:sldMasterChg>
      <pc:sldMasterChg chg="addSp modSp del delSldLayout">
        <pc:chgData name="Devid Treuling" userId="59319ebe-00e0-4bed-b2ef-326bd7e50483" providerId="ADAL" clId="{398C985C-4939-4904-9544-A192F358B56A}" dt="2020-05-20T16:13:01.600" v="775" actId="2696"/>
        <pc:sldMasterMkLst>
          <pc:docMk/>
          <pc:sldMasterMk cId="2573477763" sldId="2147483978"/>
        </pc:sldMasterMkLst>
        <pc:spChg chg="add mod">
          <ac:chgData name="Devid Treuling" userId="59319ebe-00e0-4bed-b2ef-326bd7e50483" providerId="ADAL" clId="{398C985C-4939-4904-9544-A192F358B56A}" dt="2020-05-20T16:13:00.191" v="597"/>
          <ac:spMkLst>
            <pc:docMk/>
            <pc:sldMasterMk cId="2573477763" sldId="2147483978"/>
            <ac:spMk id="2" creationId="{574EE0C3-95FE-4DC8-8E83-69A5289CA23A}"/>
          </ac:spMkLst>
        </pc:spChg>
        <pc:spChg chg="add mod">
          <ac:chgData name="Devid Treuling" userId="59319ebe-00e0-4bed-b2ef-326bd7e50483" providerId="ADAL" clId="{398C985C-4939-4904-9544-A192F358B56A}" dt="2020-05-20T16:13:00.191" v="597"/>
          <ac:spMkLst>
            <pc:docMk/>
            <pc:sldMasterMk cId="2573477763" sldId="2147483978"/>
            <ac:spMk id="3" creationId="{9625F689-F8F2-4359-ACA5-946F256F9D23}"/>
          </ac:spMkLst>
        </pc:spChg>
        <pc:spChg chg="add mod">
          <ac:chgData name="Devid Treuling" userId="59319ebe-00e0-4bed-b2ef-326bd7e50483" providerId="ADAL" clId="{398C985C-4939-4904-9544-A192F358B56A}" dt="2020-05-20T16:13:00.191" v="597"/>
          <ac:spMkLst>
            <pc:docMk/>
            <pc:sldMasterMk cId="2573477763" sldId="2147483978"/>
            <ac:spMk id="4" creationId="{30C55F17-177B-4498-AF59-49F6AAB6EA13}"/>
          </ac:spMkLst>
        </pc:spChg>
        <pc:spChg chg="add mod">
          <ac:chgData name="Devid Treuling" userId="59319ebe-00e0-4bed-b2ef-326bd7e50483" providerId="ADAL" clId="{398C985C-4939-4904-9544-A192F358B56A}" dt="2020-05-20T16:13:00.191" v="597"/>
          <ac:spMkLst>
            <pc:docMk/>
            <pc:sldMasterMk cId="2573477763" sldId="2147483978"/>
            <ac:spMk id="5" creationId="{65AB059A-6658-4178-B0DB-F3B3B194DBE6}"/>
          </ac:spMkLst>
        </pc:spChg>
        <pc:spChg chg="add mod">
          <ac:chgData name="Devid Treuling" userId="59319ebe-00e0-4bed-b2ef-326bd7e50483" providerId="ADAL" clId="{398C985C-4939-4904-9544-A192F358B56A}" dt="2020-05-20T16:13:00.191" v="597"/>
          <ac:spMkLst>
            <pc:docMk/>
            <pc:sldMasterMk cId="2573477763" sldId="2147483978"/>
            <ac:spMk id="6" creationId="{1D18AEB3-05E5-44F0-A966-E41BCAE4496E}"/>
          </ac:spMkLst>
        </pc:spChg>
        <pc:sldLayoutChg chg="del">
          <pc:chgData name="Devid Treuling" userId="59319ebe-00e0-4bed-b2ef-326bd7e50483" providerId="ADAL" clId="{398C985C-4939-4904-9544-A192F358B56A}" dt="2020-05-20T16:13:01.566" v="764" actId="2696"/>
          <pc:sldLayoutMkLst>
            <pc:docMk/>
            <pc:sldMasterMk cId="2573477763" sldId="2147483978"/>
            <pc:sldLayoutMk cId="3528020602" sldId="2147483979"/>
          </pc:sldLayoutMkLst>
        </pc:sldLayoutChg>
        <pc:sldLayoutChg chg="del">
          <pc:chgData name="Devid Treuling" userId="59319ebe-00e0-4bed-b2ef-326bd7e50483" providerId="ADAL" clId="{398C985C-4939-4904-9544-A192F358B56A}" dt="2020-05-20T16:13:01.570" v="765" actId="2696"/>
          <pc:sldLayoutMkLst>
            <pc:docMk/>
            <pc:sldMasterMk cId="2573477763" sldId="2147483978"/>
            <pc:sldLayoutMk cId="3019794853" sldId="2147483980"/>
          </pc:sldLayoutMkLst>
        </pc:sldLayoutChg>
        <pc:sldLayoutChg chg="del">
          <pc:chgData name="Devid Treuling" userId="59319ebe-00e0-4bed-b2ef-326bd7e50483" providerId="ADAL" clId="{398C985C-4939-4904-9544-A192F358B56A}" dt="2020-05-20T16:13:01.573" v="766" actId="2696"/>
          <pc:sldLayoutMkLst>
            <pc:docMk/>
            <pc:sldMasterMk cId="2573477763" sldId="2147483978"/>
            <pc:sldLayoutMk cId="2987191947" sldId="2147483981"/>
          </pc:sldLayoutMkLst>
        </pc:sldLayoutChg>
        <pc:sldLayoutChg chg="del">
          <pc:chgData name="Devid Treuling" userId="59319ebe-00e0-4bed-b2ef-326bd7e50483" providerId="ADAL" clId="{398C985C-4939-4904-9544-A192F358B56A}" dt="2020-05-20T16:13:01.576" v="767" actId="2696"/>
          <pc:sldLayoutMkLst>
            <pc:docMk/>
            <pc:sldMasterMk cId="2573477763" sldId="2147483978"/>
            <pc:sldLayoutMk cId="218821904" sldId="2147483982"/>
          </pc:sldLayoutMkLst>
        </pc:sldLayoutChg>
        <pc:sldLayoutChg chg="del">
          <pc:chgData name="Devid Treuling" userId="59319ebe-00e0-4bed-b2ef-326bd7e50483" providerId="ADAL" clId="{398C985C-4939-4904-9544-A192F358B56A}" dt="2020-05-20T16:13:01.580" v="768" actId="2696"/>
          <pc:sldLayoutMkLst>
            <pc:docMk/>
            <pc:sldMasterMk cId="2573477763" sldId="2147483978"/>
            <pc:sldLayoutMk cId="513356965" sldId="2147483983"/>
          </pc:sldLayoutMkLst>
        </pc:sldLayoutChg>
        <pc:sldLayoutChg chg="del">
          <pc:chgData name="Devid Treuling" userId="59319ebe-00e0-4bed-b2ef-326bd7e50483" providerId="ADAL" clId="{398C985C-4939-4904-9544-A192F358B56A}" dt="2020-05-20T16:13:01.582" v="769" actId="2696"/>
          <pc:sldLayoutMkLst>
            <pc:docMk/>
            <pc:sldMasterMk cId="2573477763" sldId="2147483978"/>
            <pc:sldLayoutMk cId="1771020024" sldId="2147483984"/>
          </pc:sldLayoutMkLst>
        </pc:sldLayoutChg>
        <pc:sldLayoutChg chg="del">
          <pc:chgData name="Devid Treuling" userId="59319ebe-00e0-4bed-b2ef-326bd7e50483" providerId="ADAL" clId="{398C985C-4939-4904-9544-A192F358B56A}" dt="2020-05-20T16:13:01.585" v="770" actId="2696"/>
          <pc:sldLayoutMkLst>
            <pc:docMk/>
            <pc:sldMasterMk cId="2573477763" sldId="2147483978"/>
            <pc:sldLayoutMk cId="3534819392" sldId="2147483985"/>
          </pc:sldLayoutMkLst>
        </pc:sldLayoutChg>
        <pc:sldLayoutChg chg="del">
          <pc:chgData name="Devid Treuling" userId="59319ebe-00e0-4bed-b2ef-326bd7e50483" providerId="ADAL" clId="{398C985C-4939-4904-9544-A192F358B56A}" dt="2020-05-20T16:13:01.587" v="771" actId="2696"/>
          <pc:sldLayoutMkLst>
            <pc:docMk/>
            <pc:sldMasterMk cId="2573477763" sldId="2147483978"/>
            <pc:sldLayoutMk cId="342695629" sldId="2147483986"/>
          </pc:sldLayoutMkLst>
        </pc:sldLayoutChg>
        <pc:sldLayoutChg chg="del">
          <pc:chgData name="Devid Treuling" userId="59319ebe-00e0-4bed-b2ef-326bd7e50483" providerId="ADAL" clId="{398C985C-4939-4904-9544-A192F358B56A}" dt="2020-05-20T16:13:01.589" v="772" actId="2696"/>
          <pc:sldLayoutMkLst>
            <pc:docMk/>
            <pc:sldMasterMk cId="2573477763" sldId="2147483978"/>
            <pc:sldLayoutMk cId="816798728" sldId="2147483987"/>
          </pc:sldLayoutMkLst>
        </pc:sldLayoutChg>
        <pc:sldLayoutChg chg="del">
          <pc:chgData name="Devid Treuling" userId="59319ebe-00e0-4bed-b2ef-326bd7e50483" providerId="ADAL" clId="{398C985C-4939-4904-9544-A192F358B56A}" dt="2020-05-20T16:13:01.592" v="773" actId="2696"/>
          <pc:sldLayoutMkLst>
            <pc:docMk/>
            <pc:sldMasterMk cId="2573477763" sldId="2147483978"/>
            <pc:sldLayoutMk cId="96144985" sldId="2147483988"/>
          </pc:sldLayoutMkLst>
        </pc:sldLayoutChg>
        <pc:sldLayoutChg chg="del">
          <pc:chgData name="Devid Treuling" userId="59319ebe-00e0-4bed-b2ef-326bd7e50483" providerId="ADAL" clId="{398C985C-4939-4904-9544-A192F358B56A}" dt="2020-05-20T16:13:01.595" v="774" actId="2696"/>
          <pc:sldLayoutMkLst>
            <pc:docMk/>
            <pc:sldMasterMk cId="2573477763" sldId="2147483978"/>
            <pc:sldLayoutMk cId="631391370" sldId="2147483989"/>
          </pc:sldLayoutMkLst>
        </pc:sldLayoutChg>
      </pc:sldMasterChg>
    </pc:docChg>
  </pc:docChgLst>
  <pc:docChgLst>
    <pc:chgData name="Vanitha Prabhakaran" userId="S::vanithp@microsoft.com::e95eb377-dfdd-4aab-8cbe-ebaf486b18a5" providerId="AD" clId="Web-{8AF3855A-0424-96B1-B2E8-F6C5B2F6BBE0}"/>
    <pc:docChg chg="modSld">
      <pc:chgData name="Vanitha Prabhakaran" userId="S::vanithp@microsoft.com::e95eb377-dfdd-4aab-8cbe-ebaf486b18a5" providerId="AD" clId="Web-{8AF3855A-0424-96B1-B2E8-F6C5B2F6BBE0}" dt="2021-09-02T19:36:43.119" v="2"/>
      <pc:docMkLst>
        <pc:docMk/>
      </pc:docMkLst>
      <pc:sldChg chg="delSp">
        <pc:chgData name="Vanitha Prabhakaran" userId="S::vanithp@microsoft.com::e95eb377-dfdd-4aab-8cbe-ebaf486b18a5" providerId="AD" clId="Web-{8AF3855A-0424-96B1-B2E8-F6C5B2F6BBE0}" dt="2021-09-02T19:36:43.119" v="2"/>
        <pc:sldMkLst>
          <pc:docMk/>
          <pc:sldMk cId="2242852715" sldId="257"/>
        </pc:sldMkLst>
        <pc:spChg chg="del">
          <ac:chgData name="Vanitha Prabhakaran" userId="S::vanithp@microsoft.com::e95eb377-dfdd-4aab-8cbe-ebaf486b18a5" providerId="AD" clId="Web-{8AF3855A-0424-96B1-B2E8-F6C5B2F6BBE0}" dt="2021-09-02T19:36:39.197" v="1"/>
          <ac:spMkLst>
            <pc:docMk/>
            <pc:sldMk cId="2242852715" sldId="257"/>
            <ac:spMk id="3" creationId="{743C3B0A-A836-439B-950C-1AAD5DB5CA53}"/>
          </ac:spMkLst>
        </pc:spChg>
        <pc:spChg chg="del">
          <ac:chgData name="Vanitha Prabhakaran" userId="S::vanithp@microsoft.com::e95eb377-dfdd-4aab-8cbe-ebaf486b18a5" providerId="AD" clId="Web-{8AF3855A-0424-96B1-B2E8-F6C5B2F6BBE0}" dt="2021-09-02T19:36:34.713" v="0"/>
          <ac:spMkLst>
            <pc:docMk/>
            <pc:sldMk cId="2242852715" sldId="257"/>
            <ac:spMk id="4" creationId="{49858A07-02B4-4F10-A82B-C6EA5A0D5BB2}"/>
          </ac:spMkLst>
        </pc:spChg>
        <pc:spChg chg="del">
          <ac:chgData name="Vanitha Prabhakaran" userId="S::vanithp@microsoft.com::e95eb377-dfdd-4aab-8cbe-ebaf486b18a5" providerId="AD" clId="Web-{8AF3855A-0424-96B1-B2E8-F6C5B2F6BBE0}" dt="2021-09-02T19:36:43.119" v="2"/>
          <ac:spMkLst>
            <pc:docMk/>
            <pc:sldMk cId="2242852715" sldId="257"/>
            <ac:spMk id="5" creationId="{93DA8CF5-EB5F-43D7-B113-37F99FA8D657}"/>
          </ac:spMkLst>
        </pc:spChg>
      </pc:sldChg>
    </pc:docChg>
  </pc:docChgLst>
  <pc:docChgLst>
    <pc:chgData name="Ellen Brady" userId="2292e5f9502477d7" providerId="Windows Live" clId="Web-{0DA3D4B4-DBB7-4EF1-A189-F8C465D2222E}"/>
    <pc:docChg chg="modSld">
      <pc:chgData name="Ellen Brady" userId="2292e5f9502477d7" providerId="Windows Live" clId="Web-{0DA3D4B4-DBB7-4EF1-A189-F8C465D2222E}" dt="2021-12-07T18:00:03.520" v="117" actId="20577"/>
      <pc:docMkLst>
        <pc:docMk/>
      </pc:docMkLst>
      <pc:sldChg chg="modSp">
        <pc:chgData name="Ellen Brady" userId="2292e5f9502477d7" providerId="Windows Live" clId="Web-{0DA3D4B4-DBB7-4EF1-A189-F8C465D2222E}" dt="2021-12-07T17:17:06.694" v="5" actId="20577"/>
        <pc:sldMkLst>
          <pc:docMk/>
          <pc:sldMk cId="914707366" sldId="261"/>
        </pc:sldMkLst>
        <pc:spChg chg="mod">
          <ac:chgData name="Ellen Brady" userId="2292e5f9502477d7" providerId="Windows Live" clId="Web-{0DA3D4B4-DBB7-4EF1-A189-F8C465D2222E}" dt="2021-12-07T17:17:06.694" v="5" actId="20577"/>
          <ac:spMkLst>
            <pc:docMk/>
            <pc:sldMk cId="914707366" sldId="261"/>
            <ac:spMk id="3" creationId="{00000000-0000-0000-0000-000000000000}"/>
          </ac:spMkLst>
        </pc:spChg>
      </pc:sldChg>
      <pc:sldChg chg="modSp">
        <pc:chgData name="Ellen Brady" userId="2292e5f9502477d7" providerId="Windows Live" clId="Web-{0DA3D4B4-DBB7-4EF1-A189-F8C465D2222E}" dt="2021-12-07T17:35:14.521" v="66" actId="20577"/>
        <pc:sldMkLst>
          <pc:docMk/>
          <pc:sldMk cId="1385431110" sldId="263"/>
        </pc:sldMkLst>
        <pc:spChg chg="mod">
          <ac:chgData name="Ellen Brady" userId="2292e5f9502477d7" providerId="Windows Live" clId="Web-{0DA3D4B4-DBB7-4EF1-A189-F8C465D2222E}" dt="2021-12-07T17:35:14.521" v="66" actId="20577"/>
          <ac:spMkLst>
            <pc:docMk/>
            <pc:sldMk cId="1385431110" sldId="263"/>
            <ac:spMk id="2" creationId="{E0DCCC6D-05C4-4092-8C9D-AA0D46C1A281}"/>
          </ac:spMkLst>
        </pc:spChg>
      </pc:sldChg>
      <pc:sldChg chg="modSp">
        <pc:chgData name="Ellen Brady" userId="2292e5f9502477d7" providerId="Windows Live" clId="Web-{0DA3D4B4-DBB7-4EF1-A189-F8C465D2222E}" dt="2021-12-07T17:18:14.787" v="14" actId="20577"/>
        <pc:sldMkLst>
          <pc:docMk/>
          <pc:sldMk cId="170592624" sldId="270"/>
        </pc:sldMkLst>
        <pc:spChg chg="mod">
          <ac:chgData name="Ellen Brady" userId="2292e5f9502477d7" providerId="Windows Live" clId="Web-{0DA3D4B4-DBB7-4EF1-A189-F8C465D2222E}" dt="2021-12-07T17:18:14.787" v="14" actId="20577"/>
          <ac:spMkLst>
            <pc:docMk/>
            <pc:sldMk cId="170592624" sldId="270"/>
            <ac:spMk id="3" creationId="{00000000-0000-0000-0000-000000000000}"/>
          </ac:spMkLst>
        </pc:spChg>
      </pc:sldChg>
      <pc:sldChg chg="modSp">
        <pc:chgData name="Ellen Brady" userId="2292e5f9502477d7" providerId="Windows Live" clId="Web-{0DA3D4B4-DBB7-4EF1-A189-F8C465D2222E}" dt="2021-12-07T17:25:26.240" v="35" actId="20577"/>
        <pc:sldMkLst>
          <pc:docMk/>
          <pc:sldMk cId="371621434" sldId="273"/>
        </pc:sldMkLst>
        <pc:spChg chg="mod">
          <ac:chgData name="Ellen Brady" userId="2292e5f9502477d7" providerId="Windows Live" clId="Web-{0DA3D4B4-DBB7-4EF1-A189-F8C465D2222E}" dt="2021-12-07T17:25:26.240" v="35" actId="20577"/>
          <ac:spMkLst>
            <pc:docMk/>
            <pc:sldMk cId="371621434" sldId="273"/>
            <ac:spMk id="3" creationId="{00000000-0000-0000-0000-000000000000}"/>
          </ac:spMkLst>
        </pc:spChg>
      </pc:sldChg>
      <pc:sldChg chg="modSp">
        <pc:chgData name="Ellen Brady" userId="2292e5f9502477d7" providerId="Windows Live" clId="Web-{0DA3D4B4-DBB7-4EF1-A189-F8C465D2222E}" dt="2021-12-07T17:22:22.021" v="17" actId="20577"/>
        <pc:sldMkLst>
          <pc:docMk/>
          <pc:sldMk cId="3856454875" sldId="274"/>
        </pc:sldMkLst>
        <pc:spChg chg="mod">
          <ac:chgData name="Ellen Brady" userId="2292e5f9502477d7" providerId="Windows Live" clId="Web-{0DA3D4B4-DBB7-4EF1-A189-F8C465D2222E}" dt="2021-12-07T17:22:22.021" v="17" actId="20577"/>
          <ac:spMkLst>
            <pc:docMk/>
            <pc:sldMk cId="3856454875" sldId="274"/>
            <ac:spMk id="3" creationId="{00000000-0000-0000-0000-000000000000}"/>
          </ac:spMkLst>
        </pc:spChg>
      </pc:sldChg>
      <pc:sldChg chg="delSp modSp">
        <pc:chgData name="Ellen Brady" userId="2292e5f9502477d7" providerId="Windows Live" clId="Web-{0DA3D4B4-DBB7-4EF1-A189-F8C465D2222E}" dt="2021-12-07T17:22:47.396" v="21"/>
        <pc:sldMkLst>
          <pc:docMk/>
          <pc:sldMk cId="3548445407" sldId="276"/>
        </pc:sldMkLst>
        <pc:spChg chg="mod">
          <ac:chgData name="Ellen Brady" userId="2292e5f9502477d7" providerId="Windows Live" clId="Web-{0DA3D4B4-DBB7-4EF1-A189-F8C465D2222E}" dt="2021-12-07T17:22:41.209" v="19" actId="20577"/>
          <ac:spMkLst>
            <pc:docMk/>
            <pc:sldMk cId="3548445407" sldId="276"/>
            <ac:spMk id="3" creationId="{00000000-0000-0000-0000-000000000000}"/>
          </ac:spMkLst>
        </pc:spChg>
        <pc:spChg chg="del mod">
          <ac:chgData name="Ellen Brady" userId="2292e5f9502477d7" providerId="Windows Live" clId="Web-{0DA3D4B4-DBB7-4EF1-A189-F8C465D2222E}" dt="2021-12-07T17:22:47.396" v="21"/>
          <ac:spMkLst>
            <pc:docMk/>
            <pc:sldMk cId="3548445407" sldId="276"/>
            <ac:spMk id="12" creationId="{C4226080-F4D3-473F-8324-DFB4ADA600CB}"/>
          </ac:spMkLst>
        </pc:spChg>
      </pc:sldChg>
      <pc:sldChg chg="modSp">
        <pc:chgData name="Ellen Brady" userId="2292e5f9502477d7" providerId="Windows Live" clId="Web-{0DA3D4B4-DBB7-4EF1-A189-F8C465D2222E}" dt="2021-12-07T17:25:33.209" v="37" actId="20577"/>
        <pc:sldMkLst>
          <pc:docMk/>
          <pc:sldMk cId="378527293" sldId="280"/>
        </pc:sldMkLst>
        <pc:spChg chg="mod">
          <ac:chgData name="Ellen Brady" userId="2292e5f9502477d7" providerId="Windows Live" clId="Web-{0DA3D4B4-DBB7-4EF1-A189-F8C465D2222E}" dt="2021-12-07T17:25:33.209" v="37" actId="20577"/>
          <ac:spMkLst>
            <pc:docMk/>
            <pc:sldMk cId="378527293" sldId="280"/>
            <ac:spMk id="3" creationId="{00000000-0000-0000-0000-000000000000}"/>
          </ac:spMkLst>
        </pc:spChg>
      </pc:sldChg>
      <pc:sldChg chg="modSp">
        <pc:chgData name="Ellen Brady" userId="2292e5f9502477d7" providerId="Windows Live" clId="Web-{0DA3D4B4-DBB7-4EF1-A189-F8C465D2222E}" dt="2021-12-07T17:25:45.178" v="39" actId="20577"/>
        <pc:sldMkLst>
          <pc:docMk/>
          <pc:sldMk cId="3017544052" sldId="281"/>
        </pc:sldMkLst>
        <pc:spChg chg="mod">
          <ac:chgData name="Ellen Brady" userId="2292e5f9502477d7" providerId="Windows Live" clId="Web-{0DA3D4B4-DBB7-4EF1-A189-F8C465D2222E}" dt="2021-12-07T17:25:45.178" v="39" actId="20577"/>
          <ac:spMkLst>
            <pc:docMk/>
            <pc:sldMk cId="3017544052" sldId="281"/>
            <ac:spMk id="3" creationId="{00000000-0000-0000-0000-000000000000}"/>
          </ac:spMkLst>
        </pc:spChg>
      </pc:sldChg>
      <pc:sldChg chg="modSp">
        <pc:chgData name="Ellen Brady" userId="2292e5f9502477d7" providerId="Windows Live" clId="Web-{0DA3D4B4-DBB7-4EF1-A189-F8C465D2222E}" dt="2021-12-07T17:28:01.834" v="41" actId="20577"/>
        <pc:sldMkLst>
          <pc:docMk/>
          <pc:sldMk cId="808683343" sldId="284"/>
        </pc:sldMkLst>
        <pc:spChg chg="mod">
          <ac:chgData name="Ellen Brady" userId="2292e5f9502477d7" providerId="Windows Live" clId="Web-{0DA3D4B4-DBB7-4EF1-A189-F8C465D2222E}" dt="2021-12-07T17:28:01.834" v="41" actId="20577"/>
          <ac:spMkLst>
            <pc:docMk/>
            <pc:sldMk cId="808683343" sldId="284"/>
            <ac:spMk id="3" creationId="{00000000-0000-0000-0000-000000000000}"/>
          </ac:spMkLst>
        </pc:spChg>
      </pc:sldChg>
      <pc:sldChg chg="modSp">
        <pc:chgData name="Ellen Brady" userId="2292e5f9502477d7" providerId="Windows Live" clId="Web-{0DA3D4B4-DBB7-4EF1-A189-F8C465D2222E}" dt="2021-12-07T17:28:31.631" v="49" actId="20577"/>
        <pc:sldMkLst>
          <pc:docMk/>
          <pc:sldMk cId="3473672814" sldId="285"/>
        </pc:sldMkLst>
        <pc:spChg chg="mod">
          <ac:chgData name="Ellen Brady" userId="2292e5f9502477d7" providerId="Windows Live" clId="Web-{0DA3D4B4-DBB7-4EF1-A189-F8C465D2222E}" dt="2021-12-07T17:28:31.631" v="49" actId="20577"/>
          <ac:spMkLst>
            <pc:docMk/>
            <pc:sldMk cId="3473672814" sldId="285"/>
            <ac:spMk id="3" creationId="{00000000-0000-0000-0000-000000000000}"/>
          </ac:spMkLst>
        </pc:spChg>
      </pc:sldChg>
      <pc:sldChg chg="modSp">
        <pc:chgData name="Ellen Brady" userId="2292e5f9502477d7" providerId="Windows Live" clId="Web-{0DA3D4B4-DBB7-4EF1-A189-F8C465D2222E}" dt="2021-12-07T17:37:50.521" v="78" actId="20577"/>
        <pc:sldMkLst>
          <pc:docMk/>
          <pc:sldMk cId="1025687829" sldId="287"/>
        </pc:sldMkLst>
        <pc:spChg chg="mod">
          <ac:chgData name="Ellen Brady" userId="2292e5f9502477d7" providerId="Windows Live" clId="Web-{0DA3D4B4-DBB7-4EF1-A189-F8C465D2222E}" dt="2021-12-07T17:37:50.521" v="78" actId="20577"/>
          <ac:spMkLst>
            <pc:docMk/>
            <pc:sldMk cId="1025687829" sldId="287"/>
            <ac:spMk id="2" creationId="{E0DCCC6D-05C4-4092-8C9D-AA0D46C1A281}"/>
          </ac:spMkLst>
        </pc:spChg>
      </pc:sldChg>
      <pc:sldChg chg="modSp">
        <pc:chgData name="Ellen Brady" userId="2292e5f9502477d7" providerId="Windows Live" clId="Web-{0DA3D4B4-DBB7-4EF1-A189-F8C465D2222E}" dt="2021-12-07T17:39:23.146" v="87" actId="20577"/>
        <pc:sldMkLst>
          <pc:docMk/>
          <pc:sldMk cId="38787934" sldId="288"/>
        </pc:sldMkLst>
        <pc:spChg chg="mod">
          <ac:chgData name="Ellen Brady" userId="2292e5f9502477d7" providerId="Windows Live" clId="Web-{0DA3D4B4-DBB7-4EF1-A189-F8C465D2222E}" dt="2021-12-07T17:39:23.146" v="87" actId="20577"/>
          <ac:spMkLst>
            <pc:docMk/>
            <pc:sldMk cId="38787934" sldId="288"/>
            <ac:spMk id="10" creationId="{E4F20610-6F36-4C62-BD30-C7AD324DC0BE}"/>
          </ac:spMkLst>
        </pc:spChg>
      </pc:sldChg>
      <pc:sldChg chg="modSp">
        <pc:chgData name="Ellen Brady" userId="2292e5f9502477d7" providerId="Windows Live" clId="Web-{0DA3D4B4-DBB7-4EF1-A189-F8C465D2222E}" dt="2021-12-07T17:43:11.177" v="101" actId="20577"/>
        <pc:sldMkLst>
          <pc:docMk/>
          <pc:sldMk cId="3667999408" sldId="289"/>
        </pc:sldMkLst>
        <pc:spChg chg="mod">
          <ac:chgData name="Ellen Brady" userId="2292e5f9502477d7" providerId="Windows Live" clId="Web-{0DA3D4B4-DBB7-4EF1-A189-F8C465D2222E}" dt="2021-12-07T17:43:11.177" v="101" actId="20577"/>
          <ac:spMkLst>
            <pc:docMk/>
            <pc:sldMk cId="3667999408" sldId="289"/>
            <ac:spMk id="10" creationId="{E4F20610-6F36-4C62-BD30-C7AD324DC0BE}"/>
          </ac:spMkLst>
        </pc:spChg>
      </pc:sldChg>
      <pc:sldChg chg="modSp">
        <pc:chgData name="Ellen Brady" userId="2292e5f9502477d7" providerId="Windows Live" clId="Web-{0DA3D4B4-DBB7-4EF1-A189-F8C465D2222E}" dt="2021-12-07T17:42:32.880" v="98" actId="20577"/>
        <pc:sldMkLst>
          <pc:docMk/>
          <pc:sldMk cId="2550104622" sldId="290"/>
        </pc:sldMkLst>
        <pc:spChg chg="mod">
          <ac:chgData name="Ellen Brady" userId="2292e5f9502477d7" providerId="Windows Live" clId="Web-{0DA3D4B4-DBB7-4EF1-A189-F8C465D2222E}" dt="2021-12-07T17:42:32.880" v="98" actId="20577"/>
          <ac:spMkLst>
            <pc:docMk/>
            <pc:sldMk cId="2550104622" sldId="290"/>
            <ac:spMk id="10" creationId="{E4F20610-6F36-4C62-BD30-C7AD324DC0BE}"/>
          </ac:spMkLst>
        </pc:spChg>
      </pc:sldChg>
      <pc:sldChg chg="modSp">
        <pc:chgData name="Ellen Brady" userId="2292e5f9502477d7" providerId="Windows Live" clId="Web-{0DA3D4B4-DBB7-4EF1-A189-F8C465D2222E}" dt="2021-12-07T17:56:23.364" v="104" actId="20577"/>
        <pc:sldMkLst>
          <pc:docMk/>
          <pc:sldMk cId="1309571199" sldId="291"/>
        </pc:sldMkLst>
        <pc:spChg chg="mod">
          <ac:chgData name="Ellen Brady" userId="2292e5f9502477d7" providerId="Windows Live" clId="Web-{0DA3D4B4-DBB7-4EF1-A189-F8C465D2222E}" dt="2021-12-07T17:56:23.364" v="104" actId="20577"/>
          <ac:spMkLst>
            <pc:docMk/>
            <pc:sldMk cId="1309571199" sldId="291"/>
            <ac:spMk id="10" creationId="{E4F20610-6F36-4C62-BD30-C7AD324DC0BE}"/>
          </ac:spMkLst>
        </pc:spChg>
      </pc:sldChg>
      <pc:sldChg chg="modSp">
        <pc:chgData name="Ellen Brady" userId="2292e5f9502477d7" providerId="Windows Live" clId="Web-{0DA3D4B4-DBB7-4EF1-A189-F8C465D2222E}" dt="2021-12-07T17:57:33.301" v="105" actId="20577"/>
        <pc:sldMkLst>
          <pc:docMk/>
          <pc:sldMk cId="3169648977" sldId="292"/>
        </pc:sldMkLst>
        <pc:spChg chg="mod">
          <ac:chgData name="Ellen Brady" userId="2292e5f9502477d7" providerId="Windows Live" clId="Web-{0DA3D4B4-DBB7-4EF1-A189-F8C465D2222E}" dt="2021-12-07T17:57:33.301" v="105" actId="20577"/>
          <ac:spMkLst>
            <pc:docMk/>
            <pc:sldMk cId="3169648977" sldId="292"/>
            <ac:spMk id="10" creationId="{E4F20610-6F36-4C62-BD30-C7AD324DC0BE}"/>
          </ac:spMkLst>
        </pc:spChg>
      </pc:sldChg>
      <pc:sldChg chg="modSp">
        <pc:chgData name="Ellen Brady" userId="2292e5f9502477d7" providerId="Windows Live" clId="Web-{0DA3D4B4-DBB7-4EF1-A189-F8C465D2222E}" dt="2021-12-07T17:58:17.926" v="109" actId="20577"/>
        <pc:sldMkLst>
          <pc:docMk/>
          <pc:sldMk cId="1402862391" sldId="293"/>
        </pc:sldMkLst>
        <pc:spChg chg="mod">
          <ac:chgData name="Ellen Brady" userId="2292e5f9502477d7" providerId="Windows Live" clId="Web-{0DA3D4B4-DBB7-4EF1-A189-F8C465D2222E}" dt="2021-12-07T17:58:17.926" v="109" actId="20577"/>
          <ac:spMkLst>
            <pc:docMk/>
            <pc:sldMk cId="1402862391" sldId="293"/>
            <ac:spMk id="7" creationId="{B566A8DD-053A-4F68-9380-E418138F549B}"/>
          </ac:spMkLst>
        </pc:spChg>
        <pc:spChg chg="mod">
          <ac:chgData name="Ellen Brady" userId="2292e5f9502477d7" providerId="Windows Live" clId="Web-{0DA3D4B4-DBB7-4EF1-A189-F8C465D2222E}" dt="2021-12-07T17:58:12.614" v="108" actId="20577"/>
          <ac:spMkLst>
            <pc:docMk/>
            <pc:sldMk cId="1402862391" sldId="293"/>
            <ac:spMk id="10" creationId="{E4F20610-6F36-4C62-BD30-C7AD324DC0BE}"/>
          </ac:spMkLst>
        </pc:spChg>
      </pc:sldChg>
      <pc:sldChg chg="modSp">
        <pc:chgData name="Ellen Brady" userId="2292e5f9502477d7" providerId="Windows Live" clId="Web-{0DA3D4B4-DBB7-4EF1-A189-F8C465D2222E}" dt="2021-12-07T17:59:28.442" v="116" actId="20577"/>
        <pc:sldMkLst>
          <pc:docMk/>
          <pc:sldMk cId="370084979" sldId="294"/>
        </pc:sldMkLst>
        <pc:spChg chg="mod">
          <ac:chgData name="Ellen Brady" userId="2292e5f9502477d7" providerId="Windows Live" clId="Web-{0DA3D4B4-DBB7-4EF1-A189-F8C465D2222E}" dt="2021-12-07T17:59:28.442" v="116" actId="20577"/>
          <ac:spMkLst>
            <pc:docMk/>
            <pc:sldMk cId="370084979" sldId="294"/>
            <ac:spMk id="10" creationId="{E4F20610-6F36-4C62-BD30-C7AD324DC0BE}"/>
          </ac:spMkLst>
        </pc:spChg>
      </pc:sldChg>
      <pc:sldChg chg="modSp">
        <pc:chgData name="Ellen Brady" userId="2292e5f9502477d7" providerId="Windows Live" clId="Web-{0DA3D4B4-DBB7-4EF1-A189-F8C465D2222E}" dt="2021-12-07T18:00:03.520" v="117" actId="20577"/>
        <pc:sldMkLst>
          <pc:docMk/>
          <pc:sldMk cId="1080753972" sldId="297"/>
        </pc:sldMkLst>
        <pc:spChg chg="mod">
          <ac:chgData name="Ellen Brady" userId="2292e5f9502477d7" providerId="Windows Live" clId="Web-{0DA3D4B4-DBB7-4EF1-A189-F8C465D2222E}" dt="2021-12-07T18:00:03.520" v="117" actId="20577"/>
          <ac:spMkLst>
            <pc:docMk/>
            <pc:sldMk cId="1080753972" sldId="297"/>
            <ac:spMk id="10" creationId="{E4F20610-6F36-4C62-BD30-C7AD324DC0BE}"/>
          </ac:spMkLst>
        </pc:spChg>
      </pc:sldChg>
    </pc:docChg>
  </pc:docChgLst>
  <pc:docChgLst>
    <pc:chgData name="Petri Puustinen" userId="S::petrip@microsoft.com::afdc5376-b007-4d8e-9c19-07b3fbb81413" providerId="AD" clId="Web-{49AAE171-DFA4-404F-9AAE-6DA7B1559AFA}"/>
    <pc:docChg chg="modSld">
      <pc:chgData name="Petri Puustinen" userId="S::petrip@microsoft.com::afdc5376-b007-4d8e-9c19-07b3fbb81413" providerId="AD" clId="Web-{49AAE171-DFA4-404F-9AAE-6DA7B1559AFA}" dt="2022-01-30T18:35:50.417" v="18" actId="20577"/>
      <pc:docMkLst>
        <pc:docMk/>
      </pc:docMkLst>
      <pc:sldChg chg="modSp">
        <pc:chgData name="Petri Puustinen" userId="S::petrip@microsoft.com::afdc5376-b007-4d8e-9c19-07b3fbb81413" providerId="AD" clId="Web-{49AAE171-DFA4-404F-9AAE-6DA7B1559AFA}" dt="2022-01-30T18:35:50.417" v="18" actId="20577"/>
        <pc:sldMkLst>
          <pc:docMk/>
          <pc:sldMk cId="808683343" sldId="284"/>
        </pc:sldMkLst>
        <pc:spChg chg="mod">
          <ac:chgData name="Petri Puustinen" userId="S::petrip@microsoft.com::afdc5376-b007-4d8e-9c19-07b3fbb81413" providerId="AD" clId="Web-{49AAE171-DFA4-404F-9AAE-6DA7B1559AFA}" dt="2022-01-30T18:35:50.417" v="18" actId="20577"/>
          <ac:spMkLst>
            <pc:docMk/>
            <pc:sldMk cId="808683343" sldId="284"/>
            <ac:spMk id="3" creationId="{00000000-0000-0000-0000-000000000000}"/>
          </ac:spMkLst>
        </pc:spChg>
        <pc:spChg chg="mod">
          <ac:chgData name="Petri Puustinen" userId="S::petrip@microsoft.com::afdc5376-b007-4d8e-9c19-07b3fbb81413" providerId="AD" clId="Web-{49AAE171-DFA4-404F-9AAE-6DA7B1559AFA}" dt="2022-01-30T18:35:19.322" v="10" actId="20577"/>
          <ac:spMkLst>
            <pc:docMk/>
            <pc:sldMk cId="808683343" sldId="284"/>
            <ac:spMk id="12" creationId="{C4226080-F4D3-473F-8324-DFB4ADA600CB}"/>
          </ac:spMkLst>
        </pc:spChg>
      </pc:sldChg>
    </pc:docChg>
  </pc:docChgLst>
  <pc:docChgLst>
    <pc:chgData name="Murat Odabasi" userId="d77b5acb-2443-4df7-b8cb-ac216c1fac5a" providerId="ADAL" clId="{B327EA4A-CBEC-4A46-BA89-2592CC7F0EE9}"/>
    <pc:docChg chg="custSel modMainMaster">
      <pc:chgData name="Murat Odabasi" userId="d77b5acb-2443-4df7-b8cb-ac216c1fac5a" providerId="ADAL" clId="{B327EA4A-CBEC-4A46-BA89-2592CC7F0EE9}" dt="2020-05-20T13:35:17.607" v="5" actId="20577"/>
      <pc:docMkLst>
        <pc:docMk/>
      </pc:docMkLst>
      <pc:sldMasterChg chg="modSldLayout">
        <pc:chgData name="Murat Odabasi" userId="d77b5acb-2443-4df7-b8cb-ac216c1fac5a" providerId="ADAL" clId="{B327EA4A-CBEC-4A46-BA89-2592CC7F0EE9}" dt="2020-05-20T13:35:17.607" v="5" actId="20577"/>
        <pc:sldMasterMkLst>
          <pc:docMk/>
          <pc:sldMasterMk cId="2960217152" sldId="2147483819"/>
        </pc:sldMasterMkLst>
        <pc:sldLayoutChg chg="modSp mod">
          <pc:chgData name="Murat Odabasi" userId="d77b5acb-2443-4df7-b8cb-ac216c1fac5a" providerId="ADAL" clId="{B327EA4A-CBEC-4A46-BA89-2592CC7F0EE9}" dt="2020-05-20T13:35:17.607" v="5" actId="20577"/>
          <pc:sldLayoutMkLst>
            <pc:docMk/>
            <pc:sldMasterMk cId="2960217152" sldId="2147483819"/>
            <pc:sldLayoutMk cId="109560292" sldId="2147483861"/>
          </pc:sldLayoutMkLst>
          <pc:spChg chg="mod">
            <ac:chgData name="Murat Odabasi" userId="d77b5acb-2443-4df7-b8cb-ac216c1fac5a" providerId="ADAL" clId="{B327EA4A-CBEC-4A46-BA89-2592CC7F0EE9}" dt="2020-05-20T13:35:17.607" v="5" actId="20577"/>
            <ac:spMkLst>
              <pc:docMk/>
              <pc:sldMasterMk cId="2960217152" sldId="2147483819"/>
              <pc:sldLayoutMk cId="109560292" sldId="2147483861"/>
              <ac:spMk id="11" creationId="{4F94614A-5991-48D1-BAE0-C77F81393F2D}"/>
            </ac:spMkLst>
          </pc:spChg>
        </pc:sldLayoutChg>
      </pc:sldMasterChg>
    </pc:docChg>
  </pc:docChgLst>
  <pc:docChgLst>
    <pc:chgData name="Vanitha Prabhakaran" userId="S::vanithp@microsoft.com::e95eb377-dfdd-4aab-8cbe-ebaf486b18a5" providerId="AD" clId="Web-{4940B4D7-2266-7980-BA0B-0176BCEFEDA5}"/>
    <pc:docChg chg="modSld">
      <pc:chgData name="Vanitha Prabhakaran" userId="S::vanithp@microsoft.com::e95eb377-dfdd-4aab-8cbe-ebaf486b18a5" providerId="AD" clId="Web-{4940B4D7-2266-7980-BA0B-0176BCEFEDA5}" dt="2021-09-02T19:36:10.328" v="2"/>
      <pc:docMkLst>
        <pc:docMk/>
      </pc:docMkLst>
      <pc:sldChg chg="addSp">
        <pc:chgData name="Vanitha Prabhakaran" userId="S::vanithp@microsoft.com::e95eb377-dfdd-4aab-8cbe-ebaf486b18a5" providerId="AD" clId="Web-{4940B4D7-2266-7980-BA0B-0176BCEFEDA5}" dt="2021-09-02T19:36:10.328" v="2"/>
        <pc:sldMkLst>
          <pc:docMk/>
          <pc:sldMk cId="2242852715" sldId="257"/>
        </pc:sldMkLst>
        <pc:spChg chg="add">
          <ac:chgData name="Vanitha Prabhakaran" userId="S::vanithp@microsoft.com::e95eb377-dfdd-4aab-8cbe-ebaf486b18a5" providerId="AD" clId="Web-{4940B4D7-2266-7980-BA0B-0176BCEFEDA5}" dt="2021-09-02T19:36:05.969" v="0"/>
          <ac:spMkLst>
            <pc:docMk/>
            <pc:sldMk cId="2242852715" sldId="257"/>
            <ac:spMk id="3" creationId="{743C3B0A-A836-439B-950C-1AAD5DB5CA53}"/>
          </ac:spMkLst>
        </pc:spChg>
        <pc:spChg chg="add">
          <ac:chgData name="Vanitha Prabhakaran" userId="S::vanithp@microsoft.com::e95eb377-dfdd-4aab-8cbe-ebaf486b18a5" providerId="AD" clId="Web-{4940B4D7-2266-7980-BA0B-0176BCEFEDA5}" dt="2021-09-02T19:36:07.813" v="1"/>
          <ac:spMkLst>
            <pc:docMk/>
            <pc:sldMk cId="2242852715" sldId="257"/>
            <ac:spMk id="4" creationId="{49858A07-02B4-4F10-A82B-C6EA5A0D5BB2}"/>
          </ac:spMkLst>
        </pc:spChg>
        <pc:spChg chg="add">
          <ac:chgData name="Vanitha Prabhakaran" userId="S::vanithp@microsoft.com::e95eb377-dfdd-4aab-8cbe-ebaf486b18a5" providerId="AD" clId="Web-{4940B4D7-2266-7980-BA0B-0176BCEFEDA5}" dt="2021-09-02T19:36:10.328" v="2"/>
          <ac:spMkLst>
            <pc:docMk/>
            <pc:sldMk cId="2242852715" sldId="257"/>
            <ac:spMk id="5" creationId="{93DA8CF5-EB5F-43D7-B113-37F99FA8D657}"/>
          </ac:spMkLst>
        </pc:spChg>
      </pc:sldChg>
    </pc:docChg>
  </pc:docChgLst>
  <pc:docChgLst>
    <pc:chgData name="Moris Montejo" userId="55e843e1-b95f-4cc0-a457-c4d5fafa72c5" providerId="ADAL" clId="{F0291D55-7039-48D9-A760-A500C7D5B11E}"/>
    <pc:docChg chg="modSld">
      <pc:chgData name="Moris Montejo" userId="55e843e1-b95f-4cc0-a457-c4d5fafa72c5" providerId="ADAL" clId="{F0291D55-7039-48D9-A760-A500C7D5B11E}" dt="2022-10-20T16:27:15.141" v="14" actId="20577"/>
      <pc:docMkLst>
        <pc:docMk/>
      </pc:docMkLst>
      <pc:sldChg chg="modSp mod">
        <pc:chgData name="Moris Montejo" userId="55e843e1-b95f-4cc0-a457-c4d5fafa72c5" providerId="ADAL" clId="{F0291D55-7039-48D9-A760-A500C7D5B11E}" dt="2022-10-20T16:26:26.433" v="0" actId="1076"/>
        <pc:sldMkLst>
          <pc:docMk/>
          <pc:sldMk cId="2550104622" sldId="290"/>
        </pc:sldMkLst>
        <pc:spChg chg="mod">
          <ac:chgData name="Moris Montejo" userId="55e843e1-b95f-4cc0-a457-c4d5fafa72c5" providerId="ADAL" clId="{F0291D55-7039-48D9-A760-A500C7D5B11E}" dt="2022-10-20T16:26:26.433" v="0" actId="1076"/>
          <ac:spMkLst>
            <pc:docMk/>
            <pc:sldMk cId="2550104622" sldId="290"/>
            <ac:spMk id="10" creationId="{E4F20610-6F36-4C62-BD30-C7AD324DC0BE}"/>
          </ac:spMkLst>
        </pc:spChg>
      </pc:sldChg>
      <pc:sldChg chg="modSp mod">
        <pc:chgData name="Moris Montejo" userId="55e843e1-b95f-4cc0-a457-c4d5fafa72c5" providerId="ADAL" clId="{F0291D55-7039-48D9-A760-A500C7D5B11E}" dt="2022-10-20T16:27:15.141" v="14" actId="20577"/>
        <pc:sldMkLst>
          <pc:docMk/>
          <pc:sldMk cId="1552217223" sldId="321"/>
        </pc:sldMkLst>
        <pc:spChg chg="mod">
          <ac:chgData name="Moris Montejo" userId="55e843e1-b95f-4cc0-a457-c4d5fafa72c5" providerId="ADAL" clId="{F0291D55-7039-48D9-A760-A500C7D5B11E}" dt="2022-10-20T16:27:15.141" v="14" actId="20577"/>
          <ac:spMkLst>
            <pc:docMk/>
            <pc:sldMk cId="1552217223" sldId="321"/>
            <ac:spMk id="6" creationId="{A55CB3D1-05CA-47E0-A391-B24EF7D37DC2}"/>
          </ac:spMkLst>
        </pc:spChg>
      </pc:sldChg>
    </pc:docChg>
  </pc:docChgLst>
  <pc:docChgLst>
    <pc:chgData name="Moris Montejo" userId="S::morismontejo@microsoft.com::55e843e1-b95f-4cc0-a457-c4d5fafa72c5" providerId="AD" clId="Web-{ADFA1125-B2C6-D866-D856-275855B3C60B}"/>
    <pc:docChg chg="addSld delSld modSld">
      <pc:chgData name="Moris Montejo" userId="S::morismontejo@microsoft.com::55e843e1-b95f-4cc0-a457-c4d5fafa72c5" providerId="AD" clId="Web-{ADFA1125-B2C6-D866-D856-275855B3C60B}" dt="2023-01-19T14:44:30.280" v="5"/>
      <pc:docMkLst>
        <pc:docMk/>
      </pc:docMkLst>
      <pc:sldChg chg="del">
        <pc:chgData name="Moris Montejo" userId="S::morismontejo@microsoft.com::55e843e1-b95f-4cc0-a457-c4d5fafa72c5" providerId="AD" clId="Web-{ADFA1125-B2C6-D866-D856-275855B3C60B}" dt="2023-01-19T14:44:02.607" v="3"/>
        <pc:sldMkLst>
          <pc:docMk/>
          <pc:sldMk cId="38787934" sldId="288"/>
        </pc:sldMkLst>
      </pc:sldChg>
      <pc:sldChg chg="del">
        <pc:chgData name="Moris Montejo" userId="S::morismontejo@microsoft.com::55e843e1-b95f-4cc0-a457-c4d5fafa72c5" providerId="AD" clId="Web-{ADFA1125-B2C6-D866-D856-275855B3C60B}" dt="2023-01-19T14:44:30.280" v="5"/>
        <pc:sldMkLst>
          <pc:docMk/>
          <pc:sldMk cId="2550104622" sldId="290"/>
        </pc:sldMkLst>
      </pc:sldChg>
      <pc:sldChg chg="modSp add">
        <pc:chgData name="Moris Montejo" userId="S::morismontejo@microsoft.com::55e843e1-b95f-4cc0-a457-c4d5fafa72c5" providerId="AD" clId="Web-{ADFA1125-B2C6-D866-D856-275855B3C60B}" dt="2023-01-19T14:43:54.513" v="2" actId="1076"/>
        <pc:sldMkLst>
          <pc:docMk/>
          <pc:sldMk cId="109655305" sldId="323"/>
        </pc:sldMkLst>
        <pc:spChg chg="mod">
          <ac:chgData name="Moris Montejo" userId="S::morismontejo@microsoft.com::55e843e1-b95f-4cc0-a457-c4d5fafa72c5" providerId="AD" clId="Web-{ADFA1125-B2C6-D866-D856-275855B3C60B}" dt="2023-01-19T14:43:54.513" v="2" actId="1076"/>
          <ac:spMkLst>
            <pc:docMk/>
            <pc:sldMk cId="109655305" sldId="323"/>
            <ac:spMk id="10" creationId="{E4F20610-6F36-4C62-BD30-C7AD324DC0BE}"/>
          </ac:spMkLst>
        </pc:spChg>
      </pc:sldChg>
      <pc:sldChg chg="add">
        <pc:chgData name="Moris Montejo" userId="S::morismontejo@microsoft.com::55e843e1-b95f-4cc0-a457-c4d5fafa72c5" providerId="AD" clId="Web-{ADFA1125-B2C6-D866-D856-275855B3C60B}" dt="2023-01-19T14:44:16.873" v="4"/>
        <pc:sldMkLst>
          <pc:docMk/>
          <pc:sldMk cId="1659869716" sldId="324"/>
        </pc:sldMkLst>
      </pc:sldChg>
    </pc:docChg>
  </pc:docChgLst>
  <pc:docChgLst>
    <pc:chgData name="Moris Montejo" userId="55e843e1-b95f-4cc0-a457-c4d5fafa72c5" providerId="ADAL" clId="{684D49CF-95D0-408A-BD73-431F7D58B37C}"/>
    <pc:docChg chg="undo custSel addSld delSld modSld addSection modSection">
      <pc:chgData name="Moris Montejo" userId="55e843e1-b95f-4cc0-a457-c4d5fafa72c5" providerId="ADAL" clId="{684D49CF-95D0-408A-BD73-431F7D58B37C}" dt="2023-05-04T14:06:53.090" v="480" actId="2696"/>
      <pc:docMkLst>
        <pc:docMk/>
      </pc:docMkLst>
      <pc:sldChg chg="addSp delSp modSp del mod">
        <pc:chgData name="Moris Montejo" userId="55e843e1-b95f-4cc0-a457-c4d5fafa72c5" providerId="ADAL" clId="{684D49CF-95D0-408A-BD73-431F7D58B37C}" dt="2023-05-04T14:06:53.090" v="480" actId="2696"/>
        <pc:sldMkLst>
          <pc:docMk/>
          <pc:sldMk cId="2181956486" sldId="256"/>
        </pc:sldMkLst>
        <pc:spChg chg="add del mod">
          <ac:chgData name="Moris Montejo" userId="55e843e1-b95f-4cc0-a457-c4d5fafa72c5" providerId="ADAL" clId="{684D49CF-95D0-408A-BD73-431F7D58B37C}" dt="2023-05-03T19:20:03.360" v="3"/>
          <ac:spMkLst>
            <pc:docMk/>
            <pc:sldMk cId="2181956486" sldId="256"/>
            <ac:spMk id="3" creationId="{A80C0F0F-0CD6-11A3-4CE2-B70CFC8172EA}"/>
          </ac:spMkLst>
        </pc:spChg>
        <pc:picChg chg="del">
          <ac:chgData name="Moris Montejo" userId="55e843e1-b95f-4cc0-a457-c4d5fafa72c5" providerId="ADAL" clId="{684D49CF-95D0-408A-BD73-431F7D58B37C}" dt="2023-05-03T19:19:59.739" v="0" actId="478"/>
          <ac:picMkLst>
            <pc:docMk/>
            <pc:sldMk cId="2181956486" sldId="256"/>
            <ac:picMk id="8" creationId="{DEBB7B6C-5800-4217-A7DA-4983C5C30F7A}"/>
          </ac:picMkLst>
        </pc:picChg>
        <pc:picChg chg="add del">
          <ac:chgData name="Moris Montejo" userId="55e843e1-b95f-4cc0-a457-c4d5fafa72c5" providerId="ADAL" clId="{684D49CF-95D0-408A-BD73-431F7D58B37C}" dt="2023-05-03T19:20:01.213" v="2" actId="478"/>
          <ac:picMkLst>
            <pc:docMk/>
            <pc:sldMk cId="2181956486" sldId="256"/>
            <ac:picMk id="1026" creationId="{7AC7FAC8-D575-0AC7-327F-0CEE3C1861DB}"/>
          </ac:picMkLst>
        </pc:picChg>
        <pc:picChg chg="add mod">
          <ac:chgData name="Moris Montejo" userId="55e843e1-b95f-4cc0-a457-c4d5fafa72c5" providerId="ADAL" clId="{684D49CF-95D0-408A-BD73-431F7D58B37C}" dt="2023-05-03T19:20:03.360" v="3"/>
          <ac:picMkLst>
            <pc:docMk/>
            <pc:sldMk cId="2181956486" sldId="256"/>
            <ac:picMk id="1028" creationId="{C1EF042A-CA13-32C6-B989-8C4F3E42E074}"/>
          </ac:picMkLst>
        </pc:picChg>
      </pc:sldChg>
      <pc:sldChg chg="del">
        <pc:chgData name="Moris Montejo" userId="55e843e1-b95f-4cc0-a457-c4d5fafa72c5" providerId="ADAL" clId="{684D49CF-95D0-408A-BD73-431F7D58B37C}" dt="2023-05-03T19:21:14.074" v="4" actId="47"/>
        <pc:sldMkLst>
          <pc:docMk/>
          <pc:sldMk cId="2242852715" sldId="257"/>
        </pc:sldMkLst>
      </pc:sldChg>
      <pc:sldChg chg="del">
        <pc:chgData name="Moris Montejo" userId="55e843e1-b95f-4cc0-a457-c4d5fafa72c5" providerId="ADAL" clId="{684D49CF-95D0-408A-BD73-431F7D58B37C}" dt="2023-05-03T19:21:40.808" v="6" actId="2696"/>
        <pc:sldMkLst>
          <pc:docMk/>
          <pc:sldMk cId="3001679096" sldId="258"/>
        </pc:sldMkLst>
      </pc:sldChg>
      <pc:sldChg chg="del">
        <pc:chgData name="Moris Montejo" userId="55e843e1-b95f-4cc0-a457-c4d5fafa72c5" providerId="ADAL" clId="{684D49CF-95D0-408A-BD73-431F7D58B37C}" dt="2023-05-03T19:23:29.582" v="241" actId="47"/>
        <pc:sldMkLst>
          <pc:docMk/>
          <pc:sldMk cId="1635881331" sldId="259"/>
        </pc:sldMkLst>
      </pc:sldChg>
      <pc:sldChg chg="del">
        <pc:chgData name="Moris Montejo" userId="55e843e1-b95f-4cc0-a457-c4d5fafa72c5" providerId="ADAL" clId="{684D49CF-95D0-408A-BD73-431F7D58B37C}" dt="2023-05-03T19:22:59.616" v="192" actId="47"/>
        <pc:sldMkLst>
          <pc:docMk/>
          <pc:sldMk cId="1732864890" sldId="260"/>
        </pc:sldMkLst>
      </pc:sldChg>
      <pc:sldChg chg="addSp delSp modSp mod modAnim">
        <pc:chgData name="Moris Montejo" userId="55e843e1-b95f-4cc0-a457-c4d5fafa72c5" providerId="ADAL" clId="{684D49CF-95D0-408A-BD73-431F7D58B37C}" dt="2023-05-03T19:46:58.639" v="283"/>
        <pc:sldMkLst>
          <pc:docMk/>
          <pc:sldMk cId="914707366" sldId="261"/>
        </pc:sldMkLst>
        <pc:spChg chg="mod">
          <ac:chgData name="Moris Montejo" userId="55e843e1-b95f-4cc0-a457-c4d5fafa72c5" providerId="ADAL" clId="{684D49CF-95D0-408A-BD73-431F7D58B37C}" dt="2023-05-03T19:44:44.398" v="274" actId="207"/>
          <ac:spMkLst>
            <pc:docMk/>
            <pc:sldMk cId="914707366" sldId="261"/>
            <ac:spMk id="2" creationId="{00000000-0000-0000-0000-000000000000}"/>
          </ac:spMkLst>
        </pc:spChg>
        <pc:spChg chg="add mod">
          <ac:chgData name="Moris Montejo" userId="55e843e1-b95f-4cc0-a457-c4d5fafa72c5" providerId="ADAL" clId="{684D49CF-95D0-408A-BD73-431F7D58B37C}" dt="2023-05-03T19:24:13.515" v="248"/>
          <ac:spMkLst>
            <pc:docMk/>
            <pc:sldMk cId="914707366" sldId="261"/>
            <ac:spMk id="4" creationId="{D78F0144-4BBF-DE88-F614-0EA626B9E1E5}"/>
          </ac:spMkLst>
        </pc:spChg>
        <pc:spChg chg="del">
          <ac:chgData name="Moris Montejo" userId="55e843e1-b95f-4cc0-a457-c4d5fafa72c5" providerId="ADAL" clId="{684D49CF-95D0-408A-BD73-431F7D58B37C}" dt="2023-05-03T19:45:26.868" v="275" actId="478"/>
          <ac:spMkLst>
            <pc:docMk/>
            <pc:sldMk cId="914707366" sldId="261"/>
            <ac:spMk id="5" creationId="{E8799DF7-0929-4D7E-AD26-B00E096366DA}"/>
          </ac:spMkLst>
        </pc:spChg>
      </pc:sldChg>
      <pc:sldChg chg="addSp modSp mod">
        <pc:chgData name="Moris Montejo" userId="55e843e1-b95f-4cc0-a457-c4d5fafa72c5" providerId="ADAL" clId="{684D49CF-95D0-408A-BD73-431F7D58B37C}" dt="2023-05-03T20:06:25.760" v="402" actId="207"/>
        <pc:sldMkLst>
          <pc:docMk/>
          <pc:sldMk cId="1385431110" sldId="263"/>
        </pc:sldMkLst>
        <pc:spChg chg="mod">
          <ac:chgData name="Moris Montejo" userId="55e843e1-b95f-4cc0-a457-c4d5fafa72c5" providerId="ADAL" clId="{684D49CF-95D0-408A-BD73-431F7D58B37C}" dt="2023-05-03T20:06:25.760" v="402" actId="207"/>
          <ac:spMkLst>
            <pc:docMk/>
            <pc:sldMk cId="1385431110" sldId="263"/>
            <ac:spMk id="3" creationId="{00000000-0000-0000-0000-000000000000}"/>
          </ac:spMkLst>
        </pc:spChg>
        <pc:spChg chg="add mod">
          <ac:chgData name="Moris Montejo" userId="55e843e1-b95f-4cc0-a457-c4d5fafa72c5" providerId="ADAL" clId="{684D49CF-95D0-408A-BD73-431F7D58B37C}" dt="2023-05-03T19:24:34.329" v="260"/>
          <ac:spMkLst>
            <pc:docMk/>
            <pc:sldMk cId="1385431110" sldId="263"/>
            <ac:spMk id="4" creationId="{5C4A57F3-5C7F-3E9F-3088-148ABE4EF671}"/>
          </ac:spMkLst>
        </pc:spChg>
      </pc:sldChg>
      <pc:sldChg chg="del">
        <pc:chgData name="Moris Montejo" userId="55e843e1-b95f-4cc0-a457-c4d5fafa72c5" providerId="ADAL" clId="{684D49CF-95D0-408A-BD73-431F7D58B37C}" dt="2023-05-03T20:16:43.397" v="443" actId="47"/>
        <pc:sldMkLst>
          <pc:docMk/>
          <pc:sldMk cId="4145703054" sldId="265"/>
        </pc:sldMkLst>
      </pc:sldChg>
      <pc:sldChg chg="addSp modSp mod modAnim">
        <pc:chgData name="Moris Montejo" userId="55e843e1-b95f-4cc0-a457-c4d5fafa72c5" providerId="ADAL" clId="{684D49CF-95D0-408A-BD73-431F7D58B37C}" dt="2023-05-03T19:52:11.359" v="287"/>
        <pc:sldMkLst>
          <pc:docMk/>
          <pc:sldMk cId="170592624" sldId="270"/>
        </pc:sldMkLst>
        <pc:spChg chg="mod">
          <ac:chgData name="Moris Montejo" userId="55e843e1-b95f-4cc0-a457-c4d5fafa72c5" providerId="ADAL" clId="{684D49CF-95D0-408A-BD73-431F7D58B37C}" dt="2023-05-03T19:51:59.483" v="284" actId="207"/>
          <ac:spMkLst>
            <pc:docMk/>
            <pc:sldMk cId="170592624" sldId="270"/>
            <ac:spMk id="2" creationId="{00000000-0000-0000-0000-000000000000}"/>
          </ac:spMkLst>
        </pc:spChg>
        <pc:spChg chg="add mod">
          <ac:chgData name="Moris Montejo" userId="55e843e1-b95f-4cc0-a457-c4d5fafa72c5" providerId="ADAL" clId="{684D49CF-95D0-408A-BD73-431F7D58B37C}" dt="2023-05-03T19:24:16.400" v="249"/>
          <ac:spMkLst>
            <pc:docMk/>
            <pc:sldMk cId="170592624" sldId="270"/>
            <ac:spMk id="4" creationId="{5A83F360-B8F1-03C0-EF04-FB03F2379DEF}"/>
          </ac:spMkLst>
        </pc:spChg>
      </pc:sldChg>
      <pc:sldChg chg="addSp modSp mod">
        <pc:chgData name="Moris Montejo" userId="55e843e1-b95f-4cc0-a457-c4d5fafa72c5" providerId="ADAL" clId="{684D49CF-95D0-408A-BD73-431F7D58B37C}" dt="2023-05-03T19:52:23.346" v="288" actId="207"/>
        <pc:sldMkLst>
          <pc:docMk/>
          <pc:sldMk cId="4247279136" sldId="271"/>
        </pc:sldMkLst>
        <pc:spChg chg="mod">
          <ac:chgData name="Moris Montejo" userId="55e843e1-b95f-4cc0-a457-c4d5fafa72c5" providerId="ADAL" clId="{684D49CF-95D0-408A-BD73-431F7D58B37C}" dt="2023-05-03T19:52:23.346" v="288" actId="207"/>
          <ac:spMkLst>
            <pc:docMk/>
            <pc:sldMk cId="4247279136" sldId="271"/>
            <ac:spMk id="2" creationId="{00000000-0000-0000-0000-000000000000}"/>
          </ac:spMkLst>
        </pc:spChg>
        <pc:spChg chg="add mod">
          <ac:chgData name="Moris Montejo" userId="55e843e1-b95f-4cc0-a457-c4d5fafa72c5" providerId="ADAL" clId="{684D49CF-95D0-408A-BD73-431F7D58B37C}" dt="2023-05-03T19:24:18.037" v="250"/>
          <ac:spMkLst>
            <pc:docMk/>
            <pc:sldMk cId="4247279136" sldId="271"/>
            <ac:spMk id="5" creationId="{6F1FF9EA-8DD5-C91A-1EF7-53B766220A7C}"/>
          </ac:spMkLst>
        </pc:spChg>
      </pc:sldChg>
      <pc:sldChg chg="addSp modSp mod">
        <pc:chgData name="Moris Montejo" userId="55e843e1-b95f-4cc0-a457-c4d5fafa72c5" providerId="ADAL" clId="{684D49CF-95D0-408A-BD73-431F7D58B37C}" dt="2023-05-03T19:55:19.257" v="334" actId="207"/>
        <pc:sldMkLst>
          <pc:docMk/>
          <pc:sldMk cId="371621434" sldId="273"/>
        </pc:sldMkLst>
        <pc:spChg chg="mod">
          <ac:chgData name="Moris Montejo" userId="55e843e1-b95f-4cc0-a457-c4d5fafa72c5" providerId="ADAL" clId="{684D49CF-95D0-408A-BD73-431F7D58B37C}" dt="2023-05-03T19:55:19.257" v="334" actId="207"/>
          <ac:spMkLst>
            <pc:docMk/>
            <pc:sldMk cId="371621434" sldId="273"/>
            <ac:spMk id="2" creationId="{00000000-0000-0000-0000-000000000000}"/>
          </ac:spMkLst>
        </pc:spChg>
        <pc:spChg chg="add mod">
          <ac:chgData name="Moris Montejo" userId="55e843e1-b95f-4cc0-a457-c4d5fafa72c5" providerId="ADAL" clId="{684D49CF-95D0-408A-BD73-431F7D58B37C}" dt="2023-05-03T19:24:23.468" v="253"/>
          <ac:spMkLst>
            <pc:docMk/>
            <pc:sldMk cId="371621434" sldId="273"/>
            <ac:spMk id="4" creationId="{E7D576C1-ACEA-A2F5-141E-E4D895E91F0B}"/>
          </ac:spMkLst>
        </pc:spChg>
      </pc:sldChg>
      <pc:sldChg chg="addSp modSp mod">
        <pc:chgData name="Moris Montejo" userId="55e843e1-b95f-4cc0-a457-c4d5fafa72c5" providerId="ADAL" clId="{684D49CF-95D0-408A-BD73-431F7D58B37C}" dt="2023-05-03T19:53:00.184" v="330" actId="207"/>
        <pc:sldMkLst>
          <pc:docMk/>
          <pc:sldMk cId="3856454875" sldId="274"/>
        </pc:sldMkLst>
        <pc:spChg chg="mod">
          <ac:chgData name="Moris Montejo" userId="55e843e1-b95f-4cc0-a457-c4d5fafa72c5" providerId="ADAL" clId="{684D49CF-95D0-408A-BD73-431F7D58B37C}" dt="2023-05-03T19:53:00.184" v="330" actId="207"/>
          <ac:spMkLst>
            <pc:docMk/>
            <pc:sldMk cId="3856454875" sldId="274"/>
            <ac:spMk id="2" creationId="{00000000-0000-0000-0000-000000000000}"/>
          </ac:spMkLst>
        </pc:spChg>
        <pc:spChg chg="add mod">
          <ac:chgData name="Moris Montejo" userId="55e843e1-b95f-4cc0-a457-c4d5fafa72c5" providerId="ADAL" clId="{684D49CF-95D0-408A-BD73-431F7D58B37C}" dt="2023-05-03T19:24:20.984" v="251"/>
          <ac:spMkLst>
            <pc:docMk/>
            <pc:sldMk cId="3856454875" sldId="274"/>
            <ac:spMk id="4" creationId="{A9BB8E49-E3A1-30AC-7DA5-AEA89044A576}"/>
          </ac:spMkLst>
        </pc:spChg>
      </pc:sldChg>
      <pc:sldChg chg="addSp modSp mod modAnim">
        <pc:chgData name="Moris Montejo" userId="55e843e1-b95f-4cc0-a457-c4d5fafa72c5" providerId="ADAL" clId="{684D49CF-95D0-408A-BD73-431F7D58B37C}" dt="2023-05-03T19:55:07.122" v="333"/>
        <pc:sldMkLst>
          <pc:docMk/>
          <pc:sldMk cId="3548445407" sldId="276"/>
        </pc:sldMkLst>
        <pc:spChg chg="mod">
          <ac:chgData name="Moris Montejo" userId="55e843e1-b95f-4cc0-a457-c4d5fafa72c5" providerId="ADAL" clId="{684D49CF-95D0-408A-BD73-431F7D58B37C}" dt="2023-05-03T19:53:09.445" v="331" actId="207"/>
          <ac:spMkLst>
            <pc:docMk/>
            <pc:sldMk cId="3548445407" sldId="276"/>
            <ac:spMk id="2" creationId="{00000000-0000-0000-0000-000000000000}"/>
          </ac:spMkLst>
        </pc:spChg>
        <pc:spChg chg="add mod">
          <ac:chgData name="Moris Montejo" userId="55e843e1-b95f-4cc0-a457-c4d5fafa72c5" providerId="ADAL" clId="{684D49CF-95D0-408A-BD73-431F7D58B37C}" dt="2023-05-03T19:24:22.273" v="252"/>
          <ac:spMkLst>
            <pc:docMk/>
            <pc:sldMk cId="3548445407" sldId="276"/>
            <ac:spMk id="4" creationId="{7AED6DB2-92B5-D3CC-3E2C-2D2F970E2A1D}"/>
          </ac:spMkLst>
        </pc:spChg>
      </pc:sldChg>
      <pc:sldChg chg="del">
        <pc:chgData name="Moris Montejo" userId="55e843e1-b95f-4cc0-a457-c4d5fafa72c5" providerId="ADAL" clId="{684D49CF-95D0-408A-BD73-431F7D58B37C}" dt="2023-05-03T19:57:14.509" v="348" actId="47"/>
        <pc:sldMkLst>
          <pc:docMk/>
          <pc:sldMk cId="2625495361" sldId="277"/>
        </pc:sldMkLst>
      </pc:sldChg>
      <pc:sldChg chg="del">
        <pc:chgData name="Moris Montejo" userId="55e843e1-b95f-4cc0-a457-c4d5fafa72c5" providerId="ADAL" clId="{684D49CF-95D0-408A-BD73-431F7D58B37C}" dt="2023-05-03T20:03:41.266" v="363" actId="47"/>
        <pc:sldMkLst>
          <pc:docMk/>
          <pc:sldMk cId="3976882027" sldId="278"/>
        </pc:sldMkLst>
      </pc:sldChg>
      <pc:sldChg chg="del">
        <pc:chgData name="Moris Montejo" userId="55e843e1-b95f-4cc0-a457-c4d5fafa72c5" providerId="ADAL" clId="{684D49CF-95D0-408A-BD73-431F7D58B37C}" dt="2023-05-03T19:52:50.425" v="329" actId="47"/>
        <pc:sldMkLst>
          <pc:docMk/>
          <pc:sldMk cId="986121209" sldId="279"/>
        </pc:sldMkLst>
      </pc:sldChg>
      <pc:sldChg chg="addSp modSp mod">
        <pc:chgData name="Moris Montejo" userId="55e843e1-b95f-4cc0-a457-c4d5fafa72c5" providerId="ADAL" clId="{684D49CF-95D0-408A-BD73-431F7D58B37C}" dt="2023-05-03T20:03:45.195" v="364" actId="207"/>
        <pc:sldMkLst>
          <pc:docMk/>
          <pc:sldMk cId="378527293" sldId="280"/>
        </pc:sldMkLst>
        <pc:spChg chg="mod">
          <ac:chgData name="Moris Montejo" userId="55e843e1-b95f-4cc0-a457-c4d5fafa72c5" providerId="ADAL" clId="{684D49CF-95D0-408A-BD73-431F7D58B37C}" dt="2023-05-03T20:03:45.195" v="364" actId="207"/>
          <ac:spMkLst>
            <pc:docMk/>
            <pc:sldMk cId="378527293" sldId="280"/>
            <ac:spMk id="2" creationId="{00000000-0000-0000-0000-000000000000}"/>
          </ac:spMkLst>
        </pc:spChg>
        <pc:spChg chg="add mod">
          <ac:chgData name="Moris Montejo" userId="55e843e1-b95f-4cc0-a457-c4d5fafa72c5" providerId="ADAL" clId="{684D49CF-95D0-408A-BD73-431F7D58B37C}" dt="2023-05-03T19:24:26.992" v="254"/>
          <ac:spMkLst>
            <pc:docMk/>
            <pc:sldMk cId="378527293" sldId="280"/>
            <ac:spMk id="4" creationId="{FECB46B4-57D3-C94E-3C5D-43C18A783B36}"/>
          </ac:spMkLst>
        </pc:spChg>
      </pc:sldChg>
      <pc:sldChg chg="addSp modSp mod">
        <pc:chgData name="Moris Montejo" userId="55e843e1-b95f-4cc0-a457-c4d5fafa72c5" providerId="ADAL" clId="{684D49CF-95D0-408A-BD73-431F7D58B37C}" dt="2023-05-03T20:04:04.569" v="365" actId="207"/>
        <pc:sldMkLst>
          <pc:docMk/>
          <pc:sldMk cId="3017544052" sldId="281"/>
        </pc:sldMkLst>
        <pc:spChg chg="mod">
          <ac:chgData name="Moris Montejo" userId="55e843e1-b95f-4cc0-a457-c4d5fafa72c5" providerId="ADAL" clId="{684D49CF-95D0-408A-BD73-431F7D58B37C}" dt="2023-05-03T20:04:04.569" v="365" actId="207"/>
          <ac:spMkLst>
            <pc:docMk/>
            <pc:sldMk cId="3017544052" sldId="281"/>
            <ac:spMk id="2" creationId="{00000000-0000-0000-0000-000000000000}"/>
          </ac:spMkLst>
        </pc:spChg>
        <pc:spChg chg="add mod">
          <ac:chgData name="Moris Montejo" userId="55e843e1-b95f-4cc0-a457-c4d5fafa72c5" providerId="ADAL" clId="{684D49CF-95D0-408A-BD73-431F7D58B37C}" dt="2023-05-03T19:24:28.202" v="255"/>
          <ac:spMkLst>
            <pc:docMk/>
            <pc:sldMk cId="3017544052" sldId="281"/>
            <ac:spMk id="4" creationId="{62921E13-82BF-42BB-51F2-F0CE792ADE08}"/>
          </ac:spMkLst>
        </pc:spChg>
      </pc:sldChg>
      <pc:sldChg chg="addSp modSp mod">
        <pc:chgData name="Moris Montejo" userId="55e843e1-b95f-4cc0-a457-c4d5fafa72c5" providerId="ADAL" clId="{684D49CF-95D0-408A-BD73-431F7D58B37C}" dt="2023-05-03T20:04:09.928" v="366" actId="207"/>
        <pc:sldMkLst>
          <pc:docMk/>
          <pc:sldMk cId="3949182702" sldId="282"/>
        </pc:sldMkLst>
        <pc:spChg chg="mod">
          <ac:chgData name="Moris Montejo" userId="55e843e1-b95f-4cc0-a457-c4d5fafa72c5" providerId="ADAL" clId="{684D49CF-95D0-408A-BD73-431F7D58B37C}" dt="2023-05-03T20:04:09.928" v="366" actId="207"/>
          <ac:spMkLst>
            <pc:docMk/>
            <pc:sldMk cId="3949182702" sldId="282"/>
            <ac:spMk id="2" creationId="{00000000-0000-0000-0000-000000000000}"/>
          </ac:spMkLst>
        </pc:spChg>
        <pc:spChg chg="add mod">
          <ac:chgData name="Moris Montejo" userId="55e843e1-b95f-4cc0-a457-c4d5fafa72c5" providerId="ADAL" clId="{684D49CF-95D0-408A-BD73-431F7D58B37C}" dt="2023-05-03T19:24:29.560" v="256"/>
          <ac:spMkLst>
            <pc:docMk/>
            <pc:sldMk cId="3949182702" sldId="282"/>
            <ac:spMk id="4" creationId="{D912A2A9-9265-2CA6-96AB-4B0608651ADE}"/>
          </ac:spMkLst>
        </pc:spChg>
      </pc:sldChg>
      <pc:sldChg chg="addSp modSp mod">
        <pc:chgData name="Moris Montejo" userId="55e843e1-b95f-4cc0-a457-c4d5fafa72c5" providerId="ADAL" clId="{684D49CF-95D0-408A-BD73-431F7D58B37C}" dt="2023-05-03T20:04:21.707" v="367" actId="207"/>
        <pc:sldMkLst>
          <pc:docMk/>
          <pc:sldMk cId="2518479292" sldId="283"/>
        </pc:sldMkLst>
        <pc:spChg chg="mod">
          <ac:chgData name="Moris Montejo" userId="55e843e1-b95f-4cc0-a457-c4d5fafa72c5" providerId="ADAL" clId="{684D49CF-95D0-408A-BD73-431F7D58B37C}" dt="2023-05-03T20:04:21.707" v="367" actId="207"/>
          <ac:spMkLst>
            <pc:docMk/>
            <pc:sldMk cId="2518479292" sldId="283"/>
            <ac:spMk id="2" creationId="{00000000-0000-0000-0000-000000000000}"/>
          </ac:spMkLst>
        </pc:spChg>
        <pc:spChg chg="add mod">
          <ac:chgData name="Moris Montejo" userId="55e843e1-b95f-4cc0-a457-c4d5fafa72c5" providerId="ADAL" clId="{684D49CF-95D0-408A-BD73-431F7D58B37C}" dt="2023-05-03T19:24:30.418" v="257"/>
          <ac:spMkLst>
            <pc:docMk/>
            <pc:sldMk cId="2518479292" sldId="283"/>
            <ac:spMk id="4" creationId="{B761CAA0-B358-8892-7F69-4A8D0911AC76}"/>
          </ac:spMkLst>
        </pc:spChg>
      </pc:sldChg>
      <pc:sldChg chg="addSp modSp mod">
        <pc:chgData name="Moris Montejo" userId="55e843e1-b95f-4cc0-a457-c4d5fafa72c5" providerId="ADAL" clId="{684D49CF-95D0-408A-BD73-431F7D58B37C}" dt="2023-05-03T20:04:32.527" v="368" actId="207"/>
        <pc:sldMkLst>
          <pc:docMk/>
          <pc:sldMk cId="808683343" sldId="284"/>
        </pc:sldMkLst>
        <pc:spChg chg="mod">
          <ac:chgData name="Moris Montejo" userId="55e843e1-b95f-4cc0-a457-c4d5fafa72c5" providerId="ADAL" clId="{684D49CF-95D0-408A-BD73-431F7D58B37C}" dt="2023-05-03T20:04:32.527" v="368" actId="207"/>
          <ac:spMkLst>
            <pc:docMk/>
            <pc:sldMk cId="808683343" sldId="284"/>
            <ac:spMk id="2" creationId="{00000000-0000-0000-0000-000000000000}"/>
          </ac:spMkLst>
        </pc:spChg>
        <pc:spChg chg="add mod">
          <ac:chgData name="Moris Montejo" userId="55e843e1-b95f-4cc0-a457-c4d5fafa72c5" providerId="ADAL" clId="{684D49CF-95D0-408A-BD73-431F7D58B37C}" dt="2023-05-03T19:24:31.697" v="258"/>
          <ac:spMkLst>
            <pc:docMk/>
            <pc:sldMk cId="808683343" sldId="284"/>
            <ac:spMk id="4" creationId="{943995CC-676C-AB74-782E-3A0638D9C3F4}"/>
          </ac:spMkLst>
        </pc:spChg>
      </pc:sldChg>
      <pc:sldChg chg="addSp modSp mod">
        <pc:chgData name="Moris Montejo" userId="55e843e1-b95f-4cc0-a457-c4d5fafa72c5" providerId="ADAL" clId="{684D49CF-95D0-408A-BD73-431F7D58B37C}" dt="2023-05-03T20:04:46.602" v="369" actId="207"/>
        <pc:sldMkLst>
          <pc:docMk/>
          <pc:sldMk cId="3473672814" sldId="285"/>
        </pc:sldMkLst>
        <pc:spChg chg="mod">
          <ac:chgData name="Moris Montejo" userId="55e843e1-b95f-4cc0-a457-c4d5fafa72c5" providerId="ADAL" clId="{684D49CF-95D0-408A-BD73-431F7D58B37C}" dt="2023-05-03T20:04:46.602" v="369" actId="207"/>
          <ac:spMkLst>
            <pc:docMk/>
            <pc:sldMk cId="3473672814" sldId="285"/>
            <ac:spMk id="2" creationId="{00000000-0000-0000-0000-000000000000}"/>
          </ac:spMkLst>
        </pc:spChg>
        <pc:spChg chg="add mod">
          <ac:chgData name="Moris Montejo" userId="55e843e1-b95f-4cc0-a457-c4d5fafa72c5" providerId="ADAL" clId="{684D49CF-95D0-408A-BD73-431F7D58B37C}" dt="2023-05-03T19:24:32.857" v="259"/>
          <ac:spMkLst>
            <pc:docMk/>
            <pc:sldMk cId="3473672814" sldId="285"/>
            <ac:spMk id="4" creationId="{2FC6AA36-1D91-8CA3-78CA-350AB11FE632}"/>
          </ac:spMkLst>
        </pc:spChg>
      </pc:sldChg>
      <pc:sldChg chg="del">
        <pc:chgData name="Moris Montejo" userId="55e843e1-b95f-4cc0-a457-c4d5fafa72c5" providerId="ADAL" clId="{684D49CF-95D0-408A-BD73-431F7D58B37C}" dt="2023-05-03T20:05:29.357" v="393" actId="47"/>
        <pc:sldMkLst>
          <pc:docMk/>
          <pc:sldMk cId="2133019261" sldId="286"/>
        </pc:sldMkLst>
      </pc:sldChg>
      <pc:sldChg chg="addSp modSp modAnim">
        <pc:chgData name="Moris Montejo" userId="55e843e1-b95f-4cc0-a457-c4d5fafa72c5" providerId="ADAL" clId="{684D49CF-95D0-408A-BD73-431F7D58B37C}" dt="2023-05-03T20:07:05.194" v="409" actId="207"/>
        <pc:sldMkLst>
          <pc:docMk/>
          <pc:sldMk cId="1025687829" sldId="287"/>
        </pc:sldMkLst>
        <pc:spChg chg="mod">
          <ac:chgData name="Moris Montejo" userId="55e843e1-b95f-4cc0-a457-c4d5fafa72c5" providerId="ADAL" clId="{684D49CF-95D0-408A-BD73-431F7D58B37C}" dt="2023-05-03T20:07:05.194" v="409" actId="207"/>
          <ac:spMkLst>
            <pc:docMk/>
            <pc:sldMk cId="1025687829" sldId="287"/>
            <ac:spMk id="3" creationId="{00000000-0000-0000-0000-000000000000}"/>
          </ac:spMkLst>
        </pc:spChg>
        <pc:spChg chg="add mod">
          <ac:chgData name="Moris Montejo" userId="55e843e1-b95f-4cc0-a457-c4d5fafa72c5" providerId="ADAL" clId="{684D49CF-95D0-408A-BD73-431F7D58B37C}" dt="2023-05-03T19:24:35.549" v="261"/>
          <ac:spMkLst>
            <pc:docMk/>
            <pc:sldMk cId="1025687829" sldId="287"/>
            <ac:spMk id="5" creationId="{7F27F1EC-1855-C9F3-CCD0-5D9AE323FB59}"/>
          </ac:spMkLst>
        </pc:spChg>
      </pc:sldChg>
      <pc:sldChg chg="addSp modSp mod modAnim">
        <pc:chgData name="Moris Montejo" userId="55e843e1-b95f-4cc0-a457-c4d5fafa72c5" providerId="ADAL" clId="{684D49CF-95D0-408A-BD73-431F7D58B37C}" dt="2023-05-03T20:12:09.375" v="434"/>
        <pc:sldMkLst>
          <pc:docMk/>
          <pc:sldMk cId="3667999408" sldId="289"/>
        </pc:sldMkLst>
        <pc:spChg chg="mod">
          <ac:chgData name="Moris Montejo" userId="55e843e1-b95f-4cc0-a457-c4d5fafa72c5" providerId="ADAL" clId="{684D49CF-95D0-408A-BD73-431F7D58B37C}" dt="2023-05-03T20:11:29.083" v="423" actId="207"/>
          <ac:spMkLst>
            <pc:docMk/>
            <pc:sldMk cId="3667999408" sldId="289"/>
            <ac:spMk id="3" creationId="{00000000-0000-0000-0000-000000000000}"/>
          </ac:spMkLst>
        </pc:spChg>
        <pc:spChg chg="add mod">
          <ac:chgData name="Moris Montejo" userId="55e843e1-b95f-4cc0-a457-c4d5fafa72c5" providerId="ADAL" clId="{684D49CF-95D0-408A-BD73-431F7D58B37C}" dt="2023-05-03T19:24:42.175" v="265"/>
          <ac:spMkLst>
            <pc:docMk/>
            <pc:sldMk cId="3667999408" sldId="289"/>
            <ac:spMk id="4" creationId="{C2F34A74-7997-2CB0-A68B-FA3B9FEE516C}"/>
          </ac:spMkLst>
        </pc:spChg>
      </pc:sldChg>
      <pc:sldChg chg="addSp modSp mod">
        <pc:chgData name="Moris Montejo" userId="55e843e1-b95f-4cc0-a457-c4d5fafa72c5" providerId="ADAL" clId="{684D49CF-95D0-408A-BD73-431F7D58B37C}" dt="2023-05-03T20:14:41.942" v="435" actId="207"/>
        <pc:sldMkLst>
          <pc:docMk/>
          <pc:sldMk cId="1309571199" sldId="291"/>
        </pc:sldMkLst>
        <pc:spChg chg="add mod">
          <ac:chgData name="Moris Montejo" userId="55e843e1-b95f-4cc0-a457-c4d5fafa72c5" providerId="ADAL" clId="{684D49CF-95D0-408A-BD73-431F7D58B37C}" dt="2023-05-03T19:24:43.866" v="266"/>
          <ac:spMkLst>
            <pc:docMk/>
            <pc:sldMk cId="1309571199" sldId="291"/>
            <ac:spMk id="2" creationId="{0B8FD4C2-B250-E361-1E6D-730EFD68DC85}"/>
          </ac:spMkLst>
        </pc:spChg>
        <pc:spChg chg="mod">
          <ac:chgData name="Moris Montejo" userId="55e843e1-b95f-4cc0-a457-c4d5fafa72c5" providerId="ADAL" clId="{684D49CF-95D0-408A-BD73-431F7D58B37C}" dt="2023-05-03T20:14:41.942" v="435" actId="207"/>
          <ac:spMkLst>
            <pc:docMk/>
            <pc:sldMk cId="1309571199" sldId="291"/>
            <ac:spMk id="3" creationId="{00000000-0000-0000-0000-000000000000}"/>
          </ac:spMkLst>
        </pc:spChg>
      </pc:sldChg>
      <pc:sldChg chg="modSp mod">
        <pc:chgData name="Moris Montejo" userId="55e843e1-b95f-4cc0-a457-c4d5fafa72c5" providerId="ADAL" clId="{684D49CF-95D0-408A-BD73-431F7D58B37C}" dt="2023-05-03T20:14:51.267" v="436" actId="207"/>
        <pc:sldMkLst>
          <pc:docMk/>
          <pc:sldMk cId="3169648977" sldId="292"/>
        </pc:sldMkLst>
        <pc:spChg chg="mod">
          <ac:chgData name="Moris Montejo" userId="55e843e1-b95f-4cc0-a457-c4d5fafa72c5" providerId="ADAL" clId="{684D49CF-95D0-408A-BD73-431F7D58B37C}" dt="2023-05-03T20:14:51.267" v="436" actId="207"/>
          <ac:spMkLst>
            <pc:docMk/>
            <pc:sldMk cId="3169648977" sldId="292"/>
            <ac:spMk id="3" creationId="{00000000-0000-0000-0000-000000000000}"/>
          </ac:spMkLst>
        </pc:spChg>
      </pc:sldChg>
      <pc:sldChg chg="addSp modSp mod">
        <pc:chgData name="Moris Montejo" userId="55e843e1-b95f-4cc0-a457-c4d5fafa72c5" providerId="ADAL" clId="{684D49CF-95D0-408A-BD73-431F7D58B37C}" dt="2023-05-03T20:15:00.693" v="437" actId="207"/>
        <pc:sldMkLst>
          <pc:docMk/>
          <pc:sldMk cId="1402862391" sldId="293"/>
        </pc:sldMkLst>
        <pc:spChg chg="mod">
          <ac:chgData name="Moris Montejo" userId="55e843e1-b95f-4cc0-a457-c4d5fafa72c5" providerId="ADAL" clId="{684D49CF-95D0-408A-BD73-431F7D58B37C}" dt="2023-05-03T20:15:00.693" v="437" actId="207"/>
          <ac:spMkLst>
            <pc:docMk/>
            <pc:sldMk cId="1402862391" sldId="293"/>
            <ac:spMk id="3" creationId="{00000000-0000-0000-0000-000000000000}"/>
          </ac:spMkLst>
        </pc:spChg>
        <pc:spChg chg="add mod">
          <ac:chgData name="Moris Montejo" userId="55e843e1-b95f-4cc0-a457-c4d5fafa72c5" providerId="ADAL" clId="{684D49CF-95D0-408A-BD73-431F7D58B37C}" dt="2023-05-03T19:24:45.336" v="267"/>
          <ac:spMkLst>
            <pc:docMk/>
            <pc:sldMk cId="1402862391" sldId="293"/>
            <ac:spMk id="4" creationId="{9B96E9B1-7EC5-8CA6-6079-090067334617}"/>
          </ac:spMkLst>
        </pc:spChg>
      </pc:sldChg>
      <pc:sldChg chg="addSp modSp mod">
        <pc:chgData name="Moris Montejo" userId="55e843e1-b95f-4cc0-a457-c4d5fafa72c5" providerId="ADAL" clId="{684D49CF-95D0-408A-BD73-431F7D58B37C}" dt="2023-05-03T20:15:13.636" v="439" actId="207"/>
        <pc:sldMkLst>
          <pc:docMk/>
          <pc:sldMk cId="370084979" sldId="294"/>
        </pc:sldMkLst>
        <pc:spChg chg="add mod">
          <ac:chgData name="Moris Montejo" userId="55e843e1-b95f-4cc0-a457-c4d5fafa72c5" providerId="ADAL" clId="{684D49CF-95D0-408A-BD73-431F7D58B37C}" dt="2023-05-03T19:24:48.946" v="269"/>
          <ac:spMkLst>
            <pc:docMk/>
            <pc:sldMk cId="370084979" sldId="294"/>
            <ac:spMk id="2" creationId="{621C17D2-DE83-BED8-E8B2-9ED5789595F4}"/>
          </ac:spMkLst>
        </pc:spChg>
        <pc:spChg chg="mod">
          <ac:chgData name="Moris Montejo" userId="55e843e1-b95f-4cc0-a457-c4d5fafa72c5" providerId="ADAL" clId="{684D49CF-95D0-408A-BD73-431F7D58B37C}" dt="2023-05-03T20:15:13.636" v="439" actId="207"/>
          <ac:spMkLst>
            <pc:docMk/>
            <pc:sldMk cId="370084979" sldId="294"/>
            <ac:spMk id="3" creationId="{00000000-0000-0000-0000-000000000000}"/>
          </ac:spMkLst>
        </pc:spChg>
      </pc:sldChg>
      <pc:sldChg chg="addSp modSp mod">
        <pc:chgData name="Moris Montejo" userId="55e843e1-b95f-4cc0-a457-c4d5fafa72c5" providerId="ADAL" clId="{684D49CF-95D0-408A-BD73-431F7D58B37C}" dt="2023-05-03T20:15:06.335" v="438" actId="207"/>
        <pc:sldMkLst>
          <pc:docMk/>
          <pc:sldMk cId="1254104332" sldId="295"/>
        </pc:sldMkLst>
        <pc:spChg chg="add mod">
          <ac:chgData name="Moris Montejo" userId="55e843e1-b95f-4cc0-a457-c4d5fafa72c5" providerId="ADAL" clId="{684D49CF-95D0-408A-BD73-431F7D58B37C}" dt="2023-05-03T19:24:46.846" v="268"/>
          <ac:spMkLst>
            <pc:docMk/>
            <pc:sldMk cId="1254104332" sldId="295"/>
            <ac:spMk id="2" creationId="{661C0156-99ED-B7CC-9155-6980990B4A1D}"/>
          </ac:spMkLst>
        </pc:spChg>
        <pc:spChg chg="mod">
          <ac:chgData name="Moris Montejo" userId="55e843e1-b95f-4cc0-a457-c4d5fafa72c5" providerId="ADAL" clId="{684D49CF-95D0-408A-BD73-431F7D58B37C}" dt="2023-05-03T20:15:06.335" v="438" actId="207"/>
          <ac:spMkLst>
            <pc:docMk/>
            <pc:sldMk cId="1254104332" sldId="295"/>
            <ac:spMk id="3" creationId="{00000000-0000-0000-0000-000000000000}"/>
          </ac:spMkLst>
        </pc:spChg>
      </pc:sldChg>
      <pc:sldChg chg="addSp modSp mod">
        <pc:chgData name="Moris Montejo" userId="55e843e1-b95f-4cc0-a457-c4d5fafa72c5" providerId="ADAL" clId="{684D49CF-95D0-408A-BD73-431F7D58B37C}" dt="2023-05-03T20:15:18.431" v="440" actId="207"/>
        <pc:sldMkLst>
          <pc:docMk/>
          <pc:sldMk cId="85784363" sldId="296"/>
        </pc:sldMkLst>
        <pc:spChg chg="mod">
          <ac:chgData name="Moris Montejo" userId="55e843e1-b95f-4cc0-a457-c4d5fafa72c5" providerId="ADAL" clId="{684D49CF-95D0-408A-BD73-431F7D58B37C}" dt="2023-05-03T20:15:18.431" v="440" actId="207"/>
          <ac:spMkLst>
            <pc:docMk/>
            <pc:sldMk cId="85784363" sldId="296"/>
            <ac:spMk id="3" creationId="{00000000-0000-0000-0000-000000000000}"/>
          </ac:spMkLst>
        </pc:spChg>
        <pc:spChg chg="add mod">
          <ac:chgData name="Moris Montejo" userId="55e843e1-b95f-4cc0-a457-c4d5fafa72c5" providerId="ADAL" clId="{684D49CF-95D0-408A-BD73-431F7D58B37C}" dt="2023-05-03T19:24:51.071" v="270"/>
          <ac:spMkLst>
            <pc:docMk/>
            <pc:sldMk cId="85784363" sldId="296"/>
            <ac:spMk id="4" creationId="{530E5AC6-D22F-30FC-A81D-1234A1FDC259}"/>
          </ac:spMkLst>
        </pc:spChg>
      </pc:sldChg>
      <pc:sldChg chg="addSp modSp mod">
        <pc:chgData name="Moris Montejo" userId="55e843e1-b95f-4cc0-a457-c4d5fafa72c5" providerId="ADAL" clId="{684D49CF-95D0-408A-BD73-431F7D58B37C}" dt="2023-05-03T20:15:23.459" v="441" actId="207"/>
        <pc:sldMkLst>
          <pc:docMk/>
          <pc:sldMk cId="1080753972" sldId="297"/>
        </pc:sldMkLst>
        <pc:spChg chg="add mod">
          <ac:chgData name="Moris Montejo" userId="55e843e1-b95f-4cc0-a457-c4d5fafa72c5" providerId="ADAL" clId="{684D49CF-95D0-408A-BD73-431F7D58B37C}" dt="2023-05-03T19:24:52.252" v="271"/>
          <ac:spMkLst>
            <pc:docMk/>
            <pc:sldMk cId="1080753972" sldId="297"/>
            <ac:spMk id="2" creationId="{EA24E31C-2FCA-91B6-A588-BB4387963833}"/>
          </ac:spMkLst>
        </pc:spChg>
        <pc:spChg chg="mod">
          <ac:chgData name="Moris Montejo" userId="55e843e1-b95f-4cc0-a457-c4d5fafa72c5" providerId="ADAL" clId="{684D49CF-95D0-408A-BD73-431F7D58B37C}" dt="2023-05-03T20:15:23.459" v="441" actId="207"/>
          <ac:spMkLst>
            <pc:docMk/>
            <pc:sldMk cId="1080753972" sldId="297"/>
            <ac:spMk id="3" creationId="{00000000-0000-0000-0000-000000000000}"/>
          </ac:spMkLst>
        </pc:spChg>
      </pc:sldChg>
      <pc:sldChg chg="del">
        <pc:chgData name="Moris Montejo" userId="55e843e1-b95f-4cc0-a457-c4d5fafa72c5" providerId="ADAL" clId="{684D49CF-95D0-408A-BD73-431F7D58B37C}" dt="2023-05-03T20:17:15.402" v="448" actId="2696"/>
        <pc:sldMkLst>
          <pc:docMk/>
          <pc:sldMk cId="1552217223" sldId="321"/>
        </pc:sldMkLst>
      </pc:sldChg>
      <pc:sldChg chg="addSp modSp mod">
        <pc:chgData name="Moris Montejo" userId="55e843e1-b95f-4cc0-a457-c4d5fafa72c5" providerId="ADAL" clId="{684D49CF-95D0-408A-BD73-431F7D58B37C}" dt="2023-05-03T19:44:23.337" v="273" actId="207"/>
        <pc:sldMkLst>
          <pc:docMk/>
          <pc:sldMk cId="989710959" sldId="322"/>
        </pc:sldMkLst>
        <pc:spChg chg="add mod">
          <ac:chgData name="Moris Montejo" userId="55e843e1-b95f-4cc0-a457-c4d5fafa72c5" providerId="ADAL" clId="{684D49CF-95D0-408A-BD73-431F7D58B37C}" dt="2023-05-03T19:24:53.621" v="272"/>
          <ac:spMkLst>
            <pc:docMk/>
            <pc:sldMk cId="989710959" sldId="322"/>
            <ac:spMk id="2" creationId="{521F02C4-A55B-7A0F-A7B4-2484162C231E}"/>
          </ac:spMkLst>
        </pc:spChg>
        <pc:spChg chg="mod">
          <ac:chgData name="Moris Montejo" userId="55e843e1-b95f-4cc0-a457-c4d5fafa72c5" providerId="ADAL" clId="{684D49CF-95D0-408A-BD73-431F7D58B37C}" dt="2023-05-03T19:44:23.337" v="273" actId="207"/>
          <ac:spMkLst>
            <pc:docMk/>
            <pc:sldMk cId="989710959" sldId="322"/>
            <ac:spMk id="3" creationId="{00000000-0000-0000-0000-000000000000}"/>
          </ac:spMkLst>
        </pc:spChg>
      </pc:sldChg>
      <pc:sldChg chg="addSp modSp mod">
        <pc:chgData name="Moris Montejo" userId="55e843e1-b95f-4cc0-a457-c4d5fafa72c5" providerId="ADAL" clId="{684D49CF-95D0-408A-BD73-431F7D58B37C}" dt="2023-05-03T20:07:25.315" v="411" actId="207"/>
        <pc:sldMkLst>
          <pc:docMk/>
          <pc:sldMk cId="109655305" sldId="323"/>
        </pc:sldMkLst>
        <pc:spChg chg="add mod">
          <ac:chgData name="Moris Montejo" userId="55e843e1-b95f-4cc0-a457-c4d5fafa72c5" providerId="ADAL" clId="{684D49CF-95D0-408A-BD73-431F7D58B37C}" dt="2023-05-03T19:24:36.721" v="262"/>
          <ac:spMkLst>
            <pc:docMk/>
            <pc:sldMk cId="109655305" sldId="323"/>
            <ac:spMk id="2" creationId="{4B31DFE6-19CF-F150-374C-A8D6E82CEB05}"/>
          </ac:spMkLst>
        </pc:spChg>
        <pc:spChg chg="mod">
          <ac:chgData name="Moris Montejo" userId="55e843e1-b95f-4cc0-a457-c4d5fafa72c5" providerId="ADAL" clId="{684D49CF-95D0-408A-BD73-431F7D58B37C}" dt="2023-05-03T20:07:10.354" v="410" actId="207"/>
          <ac:spMkLst>
            <pc:docMk/>
            <pc:sldMk cId="109655305" sldId="323"/>
            <ac:spMk id="3" creationId="{00000000-0000-0000-0000-000000000000}"/>
          </ac:spMkLst>
        </pc:spChg>
        <pc:spChg chg="mod">
          <ac:chgData name="Moris Montejo" userId="55e843e1-b95f-4cc0-a457-c4d5fafa72c5" providerId="ADAL" clId="{684D49CF-95D0-408A-BD73-431F7D58B37C}" dt="2023-05-03T20:07:25.315" v="411" actId="207"/>
          <ac:spMkLst>
            <pc:docMk/>
            <pc:sldMk cId="109655305" sldId="323"/>
            <ac:spMk id="10" creationId="{E4F20610-6F36-4C62-BD30-C7AD324DC0BE}"/>
          </ac:spMkLst>
        </pc:spChg>
      </pc:sldChg>
      <pc:sldChg chg="addSp delSp modSp mod modAnim">
        <pc:chgData name="Moris Montejo" userId="55e843e1-b95f-4cc0-a457-c4d5fafa72c5" providerId="ADAL" clId="{684D49CF-95D0-408A-BD73-431F7D58B37C}" dt="2023-05-03T20:11:14.224" v="422"/>
        <pc:sldMkLst>
          <pc:docMk/>
          <pc:sldMk cId="1659869716" sldId="324"/>
        </pc:sldMkLst>
        <pc:spChg chg="add del mod">
          <ac:chgData name="Moris Montejo" userId="55e843e1-b95f-4cc0-a457-c4d5fafa72c5" providerId="ADAL" clId="{684D49CF-95D0-408A-BD73-431F7D58B37C}" dt="2023-05-03T19:24:39.882" v="264" actId="478"/>
          <ac:spMkLst>
            <pc:docMk/>
            <pc:sldMk cId="1659869716" sldId="324"/>
            <ac:spMk id="2" creationId="{CF68EF7B-E4BF-4C83-C631-932C9E0F8FBB}"/>
          </ac:spMkLst>
        </pc:spChg>
        <pc:spChg chg="mod">
          <ac:chgData name="Moris Montejo" userId="55e843e1-b95f-4cc0-a457-c4d5fafa72c5" providerId="ADAL" clId="{684D49CF-95D0-408A-BD73-431F7D58B37C}" dt="2023-05-03T20:09:48.900" v="412" actId="207"/>
          <ac:spMkLst>
            <pc:docMk/>
            <pc:sldMk cId="1659869716" sldId="324"/>
            <ac:spMk id="3" creationId="{00000000-0000-0000-0000-000000000000}"/>
          </ac:spMkLst>
        </pc:spChg>
        <pc:spChg chg="mod">
          <ac:chgData name="Moris Montejo" userId="55e843e1-b95f-4cc0-a457-c4d5fafa72c5" providerId="ADAL" clId="{684D49CF-95D0-408A-BD73-431F7D58B37C}" dt="2023-05-03T20:10:47.091" v="417" actId="255"/>
          <ac:spMkLst>
            <pc:docMk/>
            <pc:sldMk cId="1659869716" sldId="324"/>
            <ac:spMk id="6" creationId="{64D8016B-0466-4D1D-B4A8-DF3BD79AB8A6}"/>
          </ac:spMkLst>
        </pc:spChg>
        <pc:spChg chg="mod">
          <ac:chgData name="Moris Montejo" userId="55e843e1-b95f-4cc0-a457-c4d5fafa72c5" providerId="ADAL" clId="{684D49CF-95D0-408A-BD73-431F7D58B37C}" dt="2023-05-03T20:10:18.462" v="413" actId="15"/>
          <ac:spMkLst>
            <pc:docMk/>
            <pc:sldMk cId="1659869716" sldId="324"/>
            <ac:spMk id="10" creationId="{E4F20610-6F36-4C62-BD30-C7AD324DC0BE}"/>
          </ac:spMkLst>
        </pc:spChg>
      </pc:sldChg>
      <pc:sldChg chg="modSp mod">
        <pc:chgData name="Moris Montejo" userId="55e843e1-b95f-4cc0-a457-c4d5fafa72c5" providerId="ADAL" clId="{684D49CF-95D0-408A-BD73-431F7D58B37C}" dt="2023-05-03T19:23:26.682" v="240" actId="2710"/>
        <pc:sldMkLst>
          <pc:docMk/>
          <pc:sldMk cId="601706283" sldId="2145706662"/>
        </pc:sldMkLst>
        <pc:spChg chg="mod">
          <ac:chgData name="Moris Montejo" userId="55e843e1-b95f-4cc0-a457-c4d5fafa72c5" providerId="ADAL" clId="{684D49CF-95D0-408A-BD73-431F7D58B37C}" dt="2023-05-03T19:23:26.682" v="240" actId="2710"/>
          <ac:spMkLst>
            <pc:docMk/>
            <pc:sldMk cId="601706283" sldId="2145706662"/>
            <ac:spMk id="5" creationId="{27132E6D-A6EE-402B-895A-D0B053AB702A}"/>
          </ac:spMkLst>
        </pc:spChg>
      </pc:sldChg>
      <pc:sldChg chg="delSp modSp add mod">
        <pc:chgData name="Moris Montejo" userId="55e843e1-b95f-4cc0-a457-c4d5fafa72c5" providerId="ADAL" clId="{684D49CF-95D0-408A-BD73-431F7D58B37C}" dt="2023-05-03T19:22:55.428" v="191" actId="1036"/>
        <pc:sldMkLst>
          <pc:docMk/>
          <pc:sldMk cId="641711193" sldId="2147469902"/>
        </pc:sldMkLst>
        <pc:graphicFrameChg chg="modGraphic">
          <ac:chgData name="Moris Montejo" userId="55e843e1-b95f-4cc0-a457-c4d5fafa72c5" providerId="ADAL" clId="{684D49CF-95D0-408A-BD73-431F7D58B37C}" dt="2023-05-03T19:22:48.274" v="183" actId="2165"/>
          <ac:graphicFrameMkLst>
            <pc:docMk/>
            <pc:sldMk cId="641711193" sldId="2147469902"/>
            <ac:graphicFrameMk id="41" creationId="{2F2EA0C9-C38D-4F1A-8551-0B45DED4B9B8}"/>
          </ac:graphicFrameMkLst>
        </pc:graphicFrameChg>
        <pc:cxnChg chg="mod">
          <ac:chgData name="Moris Montejo" userId="55e843e1-b95f-4cc0-a457-c4d5fafa72c5" providerId="ADAL" clId="{684D49CF-95D0-408A-BD73-431F7D58B37C}" dt="2023-05-03T19:22:53.161" v="190" actId="1035"/>
          <ac:cxnSpMkLst>
            <pc:docMk/>
            <pc:sldMk cId="641711193" sldId="2147469902"/>
            <ac:cxnSpMk id="5" creationId="{216557A9-2B37-9FB4-D38C-37BBE67160F2}"/>
          </ac:cxnSpMkLst>
        </pc:cxnChg>
        <pc:cxnChg chg="del">
          <ac:chgData name="Moris Montejo" userId="55e843e1-b95f-4cc0-a457-c4d5fafa72c5" providerId="ADAL" clId="{684D49CF-95D0-408A-BD73-431F7D58B37C}" dt="2023-05-03T19:22:50.140" v="184" actId="478"/>
          <ac:cxnSpMkLst>
            <pc:docMk/>
            <pc:sldMk cId="641711193" sldId="2147469902"/>
            <ac:cxnSpMk id="6" creationId="{2C8F0754-DCF9-5682-73CA-C4711001203E}"/>
          </ac:cxnSpMkLst>
        </pc:cxnChg>
        <pc:cxnChg chg="mod">
          <ac:chgData name="Moris Montejo" userId="55e843e1-b95f-4cc0-a457-c4d5fafa72c5" providerId="ADAL" clId="{684D49CF-95D0-408A-BD73-431F7D58B37C}" dt="2023-05-03T19:22:55.428" v="191" actId="1036"/>
          <ac:cxnSpMkLst>
            <pc:docMk/>
            <pc:sldMk cId="641711193" sldId="2147469902"/>
            <ac:cxnSpMk id="50" creationId="{26FAB757-B91F-42E0-8DDA-81C39A2F8225}"/>
          </ac:cxnSpMkLst>
        </pc:cxnChg>
      </pc:sldChg>
      <pc:sldChg chg="modSp add mod">
        <pc:chgData name="Moris Montejo" userId="55e843e1-b95f-4cc0-a457-c4d5fafa72c5" providerId="ADAL" clId="{684D49CF-95D0-408A-BD73-431F7D58B37C}" dt="2023-05-03T19:52:47.753" v="328" actId="20577"/>
        <pc:sldMkLst>
          <pc:docMk/>
          <pc:sldMk cId="1726490411" sldId="2147469903"/>
        </pc:sldMkLst>
        <pc:spChg chg="mod">
          <ac:chgData name="Moris Montejo" userId="55e843e1-b95f-4cc0-a457-c4d5fafa72c5" providerId="ADAL" clId="{684D49CF-95D0-408A-BD73-431F7D58B37C}" dt="2023-05-03T19:52:47.753" v="328" actId="20577"/>
          <ac:spMkLst>
            <pc:docMk/>
            <pc:sldMk cId="1726490411" sldId="2147469903"/>
            <ac:spMk id="5" creationId="{27132E6D-A6EE-402B-895A-D0B053AB702A}"/>
          </ac:spMkLst>
        </pc:spChg>
      </pc:sldChg>
      <pc:sldChg chg="add del">
        <pc:chgData name="Moris Montejo" userId="55e843e1-b95f-4cc0-a457-c4d5fafa72c5" providerId="ADAL" clId="{684D49CF-95D0-408A-BD73-431F7D58B37C}" dt="2023-05-03T19:24:02.355" v="247"/>
        <pc:sldMkLst>
          <pc:docMk/>
          <pc:sldMk cId="1749624135" sldId="2147469903"/>
        </pc:sldMkLst>
      </pc:sldChg>
      <pc:sldChg chg="modSp add mod modNotesTx">
        <pc:chgData name="Moris Montejo" userId="55e843e1-b95f-4cc0-a457-c4d5fafa72c5" providerId="ADAL" clId="{684D49CF-95D0-408A-BD73-431F7D58B37C}" dt="2023-05-03T19:56:35.504" v="347" actId="2710"/>
        <pc:sldMkLst>
          <pc:docMk/>
          <pc:sldMk cId="984083080" sldId="2147469904"/>
        </pc:sldMkLst>
        <pc:spChg chg="mod">
          <ac:chgData name="Moris Montejo" userId="55e843e1-b95f-4cc0-a457-c4d5fafa72c5" providerId="ADAL" clId="{684D49CF-95D0-408A-BD73-431F7D58B37C}" dt="2023-05-03T19:55:51.543" v="336"/>
          <ac:spMkLst>
            <pc:docMk/>
            <pc:sldMk cId="984083080" sldId="2147469904"/>
            <ac:spMk id="5" creationId="{3F83BB97-773A-4BFE-A8A1-A09521541F7F}"/>
          </ac:spMkLst>
        </pc:spChg>
        <pc:spChg chg="mod">
          <ac:chgData name="Moris Montejo" userId="55e843e1-b95f-4cc0-a457-c4d5fafa72c5" providerId="ADAL" clId="{684D49CF-95D0-408A-BD73-431F7D58B37C}" dt="2023-05-03T19:56:35.504" v="347" actId="2710"/>
          <ac:spMkLst>
            <pc:docMk/>
            <pc:sldMk cId="984083080" sldId="2147469904"/>
            <ac:spMk id="17" creationId="{ACB878CC-94A7-4ED0-A6E6-34F9BAEF01B0}"/>
          </ac:spMkLst>
        </pc:spChg>
      </pc:sldChg>
      <pc:sldChg chg="add del">
        <pc:chgData name="Moris Montejo" userId="55e843e1-b95f-4cc0-a457-c4d5fafa72c5" providerId="ADAL" clId="{684D49CF-95D0-408A-BD73-431F7D58B37C}" dt="2023-05-03T19:24:01.140" v="246"/>
        <pc:sldMkLst>
          <pc:docMk/>
          <pc:sldMk cId="2390070132" sldId="2147469904"/>
        </pc:sldMkLst>
      </pc:sldChg>
      <pc:sldChg chg="modSp add mod modNotesTx">
        <pc:chgData name="Moris Montejo" userId="55e843e1-b95f-4cc0-a457-c4d5fafa72c5" providerId="ADAL" clId="{684D49CF-95D0-408A-BD73-431F7D58B37C}" dt="2023-05-03T20:03:38.404" v="362"/>
        <pc:sldMkLst>
          <pc:docMk/>
          <pc:sldMk cId="14238217" sldId="2147469905"/>
        </pc:sldMkLst>
        <pc:spChg chg="mod">
          <ac:chgData name="Moris Montejo" userId="55e843e1-b95f-4cc0-a457-c4d5fafa72c5" providerId="ADAL" clId="{684D49CF-95D0-408A-BD73-431F7D58B37C}" dt="2023-05-03T20:03:30.498" v="361" actId="20577"/>
          <ac:spMkLst>
            <pc:docMk/>
            <pc:sldMk cId="14238217" sldId="2147469905"/>
            <ac:spMk id="5" creationId="{27132E6D-A6EE-402B-895A-D0B053AB702A}"/>
          </ac:spMkLst>
        </pc:spChg>
      </pc:sldChg>
      <pc:sldChg chg="add del">
        <pc:chgData name="Moris Montejo" userId="55e843e1-b95f-4cc0-a457-c4d5fafa72c5" providerId="ADAL" clId="{684D49CF-95D0-408A-BD73-431F7D58B37C}" dt="2023-05-03T19:24:00.510" v="245"/>
        <pc:sldMkLst>
          <pc:docMk/>
          <pc:sldMk cId="3122076393" sldId="2147469905"/>
        </pc:sldMkLst>
      </pc:sldChg>
      <pc:sldChg chg="modSp add mod">
        <pc:chgData name="Moris Montejo" userId="55e843e1-b95f-4cc0-a457-c4d5fafa72c5" providerId="ADAL" clId="{684D49CF-95D0-408A-BD73-431F7D58B37C}" dt="2023-05-03T20:05:26.480" v="392" actId="20577"/>
        <pc:sldMkLst>
          <pc:docMk/>
          <pc:sldMk cId="628874915" sldId="2147469906"/>
        </pc:sldMkLst>
        <pc:spChg chg="mod">
          <ac:chgData name="Moris Montejo" userId="55e843e1-b95f-4cc0-a457-c4d5fafa72c5" providerId="ADAL" clId="{684D49CF-95D0-408A-BD73-431F7D58B37C}" dt="2023-05-03T20:05:26.480" v="392" actId="20577"/>
          <ac:spMkLst>
            <pc:docMk/>
            <pc:sldMk cId="628874915" sldId="2147469906"/>
            <ac:spMk id="5" creationId="{27132E6D-A6EE-402B-895A-D0B053AB702A}"/>
          </ac:spMkLst>
        </pc:spChg>
      </pc:sldChg>
      <pc:sldChg chg="add">
        <pc:chgData name="Moris Montejo" userId="55e843e1-b95f-4cc0-a457-c4d5fafa72c5" providerId="ADAL" clId="{684D49CF-95D0-408A-BD73-431F7D58B37C}" dt="2023-05-03T20:16:41.212" v="442"/>
        <pc:sldMkLst>
          <pc:docMk/>
          <pc:sldMk cId="1731996720" sldId="2147469907"/>
        </pc:sldMkLst>
      </pc:sldChg>
      <pc:sldChg chg="modSp add mod">
        <pc:chgData name="Moris Montejo" userId="55e843e1-b95f-4cc0-a457-c4d5fafa72c5" providerId="ADAL" clId="{684D49CF-95D0-408A-BD73-431F7D58B37C}" dt="2023-05-03T20:17:10.237" v="447" actId="113"/>
        <pc:sldMkLst>
          <pc:docMk/>
          <pc:sldMk cId="3428807029" sldId="2147469908"/>
        </pc:sldMkLst>
        <pc:spChg chg="mod">
          <ac:chgData name="Moris Montejo" userId="55e843e1-b95f-4cc0-a457-c4d5fafa72c5" providerId="ADAL" clId="{684D49CF-95D0-408A-BD73-431F7D58B37C}" dt="2023-05-03T20:17:10.237" v="447" actId="113"/>
          <ac:spMkLst>
            <pc:docMk/>
            <pc:sldMk cId="3428807029" sldId="2147469908"/>
            <ac:spMk id="14" creationId="{2044E162-68FA-4C0E-B9D3-D4C8561D02EE}"/>
          </ac:spMkLst>
        </pc:spChg>
      </pc:sldChg>
      <pc:sldChg chg="modSp add mod">
        <pc:chgData name="Moris Montejo" userId="55e843e1-b95f-4cc0-a457-c4d5fafa72c5" providerId="ADAL" clId="{684D49CF-95D0-408A-BD73-431F7D58B37C}" dt="2023-05-04T14:06:47.199" v="479" actId="20577"/>
        <pc:sldMkLst>
          <pc:docMk/>
          <pc:sldMk cId="958331285" sldId="2147469909"/>
        </pc:sldMkLst>
        <pc:spChg chg="mod">
          <ac:chgData name="Moris Montejo" userId="55e843e1-b95f-4cc0-a457-c4d5fafa72c5" providerId="ADAL" clId="{684D49CF-95D0-408A-BD73-431F7D58B37C}" dt="2023-05-04T14:06:47.199" v="479" actId="20577"/>
          <ac:spMkLst>
            <pc:docMk/>
            <pc:sldMk cId="958331285" sldId="2147469909"/>
            <ac:spMk id="6" creationId="{12808BD5-6BEE-4164-9264-E55A823F2E3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5/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82C0C817-6383-40C6-A619-A7F43126961B}"/>
              </a:ext>
            </a:extLst>
          </p:cNvPr>
          <p:cNvSpPr>
            <a:spLocks noGrp="1"/>
          </p:cNvSpPr>
          <p:nvPr>
            <p:ph type="dt" idx="12"/>
          </p:nvPr>
        </p:nvSpPr>
        <p:spPr/>
        <p:txBody>
          <a:bodyPr/>
          <a:lstStyle/>
          <a:p>
            <a:fld id="{93F0BA74-B6B0-4726-B93D-848B68F9209C}" type="datetime1">
              <a:rPr lang="en-US"/>
              <a:t>5/4/2023</a:t>
            </a:fld>
            <a:endParaRPr lang="en-US"/>
          </a:p>
        </p:txBody>
      </p:sp>
      <p:sp>
        <p:nvSpPr>
          <p:cNvPr id="8" name="Slide Image Placeholder 7">
            <a:extLst>
              <a:ext uri="{FF2B5EF4-FFF2-40B4-BE49-F238E27FC236}">
                <a16:creationId xmlns:a16="http://schemas.microsoft.com/office/drawing/2014/main" id="{F98C1305-7F63-4C5E-9604-A0FF494BE45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9BFE94D2-9DA0-437E-8011-0DB757A5E8DD}"/>
              </a:ext>
            </a:extLst>
          </p:cNvPr>
          <p:cNvSpPr>
            <a:spLocks noGrp="1"/>
          </p:cNvSpPr>
          <p:nvPr>
            <p:ph type="body" idx="1"/>
          </p:nvPr>
        </p:nvSpPr>
        <p:spPr>
          <a:xfrm>
            <a:off x="685800" y="4400550"/>
            <a:ext cx="5486400" cy="3600450"/>
          </a:xfrm>
          <a:prstGeom prst="rect">
            <a:avLst/>
          </a:prstGeom>
        </p:spPr>
        <p:txBody>
          <a:bodyPr/>
          <a:lstStyle/>
          <a:p>
            <a:r>
              <a:rPr lang="en-US" dirty="0"/>
              <a:t>Workshop Version: 2.6</a:t>
            </a:r>
          </a:p>
        </p:txBody>
      </p:sp>
      <p:sp>
        <p:nvSpPr>
          <p:cNvPr id="5" name="Header Placeholder 4">
            <a:extLst>
              <a:ext uri="{FF2B5EF4-FFF2-40B4-BE49-F238E27FC236}">
                <a16:creationId xmlns:a16="http://schemas.microsoft.com/office/drawing/2014/main" id="{A24C5275-F675-4BEB-AAB5-B95AC3507DD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90206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5/4/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Consider demoing the following:</a:t>
            </a:r>
          </a:p>
          <a:p>
            <a:pPr lvl="0" defTabSz="914460">
              <a:lnSpc>
                <a:spcPct val="90000"/>
              </a:lnSpc>
              <a:spcAft>
                <a:spcPts val="333"/>
              </a:spcAft>
              <a:defRPr/>
            </a:pPr>
            <a:r>
              <a:rPr lang="en-US" sz="882" noProof="1">
                <a:solidFill>
                  <a:prstClr val="black"/>
                </a:solidFill>
                <a:latin typeface="Segoe UI Light" pitchFamily="34" charset="0"/>
              </a:rPr>
              <a:t>In LAB environment install data gateway to ContosoGateway server</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Download latest version (explain that we release new version every month)</a:t>
            </a:r>
          </a:p>
          <a:p>
            <a:pPr marL="228600" lvl="0" indent="-228600" defTabSz="914460">
              <a:lnSpc>
                <a:spcPct val="90000"/>
              </a:lnSpc>
              <a:spcAft>
                <a:spcPts val="333"/>
              </a:spcAft>
              <a:buAutoNum type="arabicPeriod"/>
              <a:defRPr/>
            </a:pPr>
            <a:r>
              <a:rPr lang="en-US" sz="882" b="0" noProof="1">
                <a:solidFill>
                  <a:prstClr val="black"/>
                </a:solidFill>
                <a:latin typeface="Segoe UI Light" pitchFamily="34" charset="0"/>
              </a:rPr>
              <a:t>Install gateway using MOD admin creds</a:t>
            </a:r>
            <a:endParaRPr lang="en-FI" sz="882" b="0" noProof="1">
              <a:solidFill>
                <a:prstClr val="black"/>
              </a:solidFill>
              <a:latin typeface="Segoe UI Light" pitchFamily="34" charset="0"/>
            </a:endParaRPr>
          </a:p>
          <a:p>
            <a:pPr marL="228600" lvl="0" indent="-228600" defTabSz="914460">
              <a:lnSpc>
                <a:spcPct val="90000"/>
              </a:lnSpc>
              <a:spcAft>
                <a:spcPts val="333"/>
              </a:spcAft>
              <a:buAutoNum type="arabicPeriod"/>
              <a:defRPr/>
            </a:pPr>
            <a:r>
              <a:rPr lang="en-FI" sz="882" b="0" noProof="1">
                <a:solidFill>
                  <a:prstClr val="black"/>
                </a:solidFill>
                <a:latin typeface="Segoe UI Light" pitchFamily="34" charset="0"/>
              </a:rPr>
              <a:t>OPTIONAL – skip slides of the next section by demoing gateway features</a:t>
            </a:r>
            <a:endParaRPr lang="en-US" sz="882" b="0" dirty="0">
              <a:solidFill>
                <a:prstClr val="black"/>
              </a:solidFill>
              <a:latin typeface="Segoe UI Light" pitchFamily="34" charset="0"/>
            </a:endParaRPr>
          </a:p>
          <a:p>
            <a:pPr marL="0" lvl="0" indent="0">
              <a:buFont typeface="Arial" panose="020B0604020202020204" pitchFamily="34" charset="0"/>
              <a:buNone/>
              <a:defRPr/>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079590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3</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FI" dirty="0"/>
              <a:t>NOTE! YOU CAN ALSO GO THROUGH THESE IN YOUR DEMO AFTER YOU HAVE INSTALLED THE GATEWAY</a:t>
            </a:r>
            <a:endParaRPr lang="en-US" dirty="0"/>
          </a:p>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12962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5/4/2023</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61302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FI" dirty="0"/>
              <a:t>NOTE! YOU CAN ALSO GO THROUGH THESE IN YOUR DEMO AFTER YOU HAVE INSTALLED THE GATEWAY</a:t>
            </a:r>
            <a:endParaRPr lang="en-US" dirty="0"/>
          </a:p>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319094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5/4/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572719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EBD503-35D4-44A8-8587-AEC2C404BB90}"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685800" y="25400"/>
            <a:ext cx="5486400" cy="3086100"/>
          </a:xfrm>
        </p:spPr>
      </p:sp>
      <p:sp>
        <p:nvSpPr>
          <p:cNvPr id="5" name="Footer Placeholder 4"/>
          <p:cNvSpPr>
            <a:spLocks noGrp="1"/>
          </p:cNvSpPr>
          <p:nvPr>
            <p:ph type="ftr" sz="quarter" idx="4"/>
          </p:nvPr>
        </p:nvSpPr>
        <p:spPr>
          <a:xfrm>
            <a:off x="-1" y="8685213"/>
            <a:ext cx="6342927"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3971672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4</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5/4/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Link to lab: https://labondemand.com/LabProfile/</a:t>
            </a:r>
          </a:p>
          <a:p>
            <a:endParaRPr lang="en-US" dirty="0"/>
          </a:p>
          <a:p>
            <a:r>
              <a:rPr lang="en-US" dirty="0"/>
              <a: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35</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335140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36</a:t>
            </a:fld>
            <a:endParaRPr lang="en-US" dirty="0"/>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5/4/2023</a:t>
            </a:fld>
            <a:endParaRPr lang="en-US" dirty="0"/>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729901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1" dirty="0"/>
              <a:t>NOTE!</a:t>
            </a:r>
            <a:r>
              <a:rPr lang="en-US" sz="1200" dirty="0"/>
              <a:t> In step 7, queries like Power BI refreshes and Azure Analysis Services refreshes can return large amounts of data. </a:t>
            </a:r>
          </a:p>
          <a:p>
            <a:pPr marL="342900" indent="-342900">
              <a:buFont typeface="Arial" panose="020B0604020202020204" pitchFamily="34" charset="0"/>
              <a:buChar char="•"/>
            </a:pPr>
            <a:r>
              <a:rPr lang="en-US" sz="1200" dirty="0"/>
              <a:t>For such queries, data is temporarily stored on the gateway machine. </a:t>
            </a:r>
          </a:p>
          <a:p>
            <a:pPr marL="342900" indent="-342900">
              <a:buFont typeface="Arial" panose="020B0604020202020204" pitchFamily="34" charset="0"/>
              <a:buChar char="•"/>
            </a:pPr>
            <a:r>
              <a:rPr lang="en-US" sz="1200" dirty="0"/>
              <a:t>This data storage continues until all data is received from the data source. </a:t>
            </a:r>
          </a:p>
          <a:p>
            <a:pPr marL="342900" indent="-342900">
              <a:buFont typeface="Arial" panose="020B0604020202020204" pitchFamily="34" charset="0"/>
              <a:buChar char="•"/>
            </a:pPr>
            <a:r>
              <a:rPr lang="en-US" sz="1200" dirty="0"/>
              <a:t>The data is then sent back to the cloud service. </a:t>
            </a:r>
          </a:p>
          <a:p>
            <a:pPr marL="342900" indent="-342900">
              <a:buFont typeface="Arial" panose="020B0604020202020204" pitchFamily="34" charset="0"/>
              <a:buChar char="•"/>
            </a:pPr>
            <a:r>
              <a:rPr lang="en-US" sz="1200" dirty="0"/>
              <a:t>This process is called spooling. </a:t>
            </a:r>
          </a:p>
          <a:p>
            <a:pPr marL="342900" indent="-342900">
              <a:buFont typeface="Arial" panose="020B0604020202020204" pitchFamily="34" charset="0"/>
              <a:buChar char="•"/>
            </a:pPr>
            <a:r>
              <a:rPr lang="en-US" sz="1200" dirty="0"/>
              <a:t>We recommend you use a solid-state drive (SSD) as the spooling storage.</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5/4/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14131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328105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225445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128073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092336"/>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20053888"/>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92520725"/>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1645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5084C845-866A-3D2D-388B-2365D3F6CC7D}"/>
              </a:ext>
            </a:extLst>
          </p:cNvPr>
          <p:cNvSpPr txBox="1"/>
          <p:nvPr>
            <p:extLst>
              <p:ext uri="{1162E1C5-73C7-4A58-AE30-91384D911F3F}">
                <p184:classification xmlns:p184="http://schemas.microsoft.com/office/powerpoint/2018/4/main" val="ftr"/>
              </p:ext>
            </p:extLst>
          </p:nvPr>
        </p:nvSpPr>
        <p:spPr>
          <a:xfrm>
            <a:off x="63500" y="66421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 id="2147484028" r:id="rId38"/>
    <p:sldLayoutId id="2147484029" r:id="rId39"/>
    <p:sldLayoutId id="2147484030" r:id="rId40"/>
    <p:sldLayoutId id="2147484031" r:id="rId41"/>
    <p:sldLayoutId id="2147484032" r:id="rId42"/>
    <p:sldLayoutId id="2147484033" r:id="rId43"/>
    <p:sldLayoutId id="2147484034" r:id="rId44"/>
    <p:sldLayoutId id="2147484035" r:id="rId45"/>
    <p:sldLayoutId id="2147484036" r:id="rId46"/>
    <p:sldLayoutId id="2147484037" r:id="rId47"/>
    <p:sldLayoutId id="2147484038" r:id="rId48"/>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customXml" Target="../../customXml/item39.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8.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3.xml"/><Relationship Id="rId1" Type="http://schemas.openxmlformats.org/officeDocument/2006/relationships/tags" Target="../tags/tag24.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9.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0.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png"/><Relationship Id="rId5" Type="http://schemas.openxmlformats.org/officeDocument/2006/relationships/hyperlink" Target="https://docs.microsoft.com/en-us/data-integration/gateway/service-gateway-communication" TargetMode="Externa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hyperlink" Target="https://docs.microsoft.com/en-us/data-integration/gateway/service-gateway-communication" TargetMode="Externa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4.xml"/><Relationship Id="rId1" Type="http://schemas.openxmlformats.org/officeDocument/2006/relationships/tags" Target="../tags/tag37.xml"/><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6.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7.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4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43.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44.xml"/><Relationship Id="rId5" Type="http://schemas.openxmlformats.org/officeDocument/2006/relationships/image" Target="../media/image20.pn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xml"/><Relationship Id="rId1" Type="http://schemas.openxmlformats.org/officeDocument/2006/relationships/tags" Target="../tags/tag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4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0.xml"/><Relationship Id="rId1" Type="http://schemas.openxmlformats.org/officeDocument/2006/relationships/tags" Target="../tags/tag47.xm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0.xml"/><Relationship Id="rId1" Type="http://schemas.openxmlformats.org/officeDocument/2006/relationships/tags" Target="../tags/tag48.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customXml" Target="../../customXml/item40.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xml"/><Relationship Id="rId1" Type="http://schemas.openxmlformats.org/officeDocument/2006/relationships/tags" Target="../tags/tag4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xml"/><Relationship Id="rId1" Type="http://schemas.openxmlformats.org/officeDocument/2006/relationships/tags" Target="../tags/tag50.xml"/><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0.xml"/><Relationship Id="rId1" Type="http://schemas.openxmlformats.org/officeDocument/2006/relationships/tags" Target="../tags/tag51.xml"/><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xml"/><Relationship Id="rId1" Type="http://schemas.openxmlformats.org/officeDocument/2006/relationships/tags" Target="../tags/tag52.xml"/><Relationship Id="rId5" Type="http://schemas.openxmlformats.org/officeDocument/2006/relationships/image" Target="../media/image29.png"/><Relationship Id="rId4" Type="http://schemas.openxmlformats.org/officeDocument/2006/relationships/hyperlink" Target="https://learn.microsoft.com/en-us/powershell/gateway/overview?view=datagateway-ps"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tags" Target="../tags/tag5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tags" Target="../tags/tag5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3.xml"/><Relationship Id="rId1" Type="http://schemas.openxmlformats.org/officeDocument/2006/relationships/tags" Target="../tags/tag5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1.xml"/><Relationship Id="rId1" Type="http://schemas.openxmlformats.org/officeDocument/2006/relationships/tags" Target="../tags/tag8.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42.xml"/><Relationship Id="rId1" Type="http://schemas.openxmlformats.org/officeDocument/2006/relationships/tags" Target="../tags/tag15.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custData r:id="rId2"/>
            </p:custDataLst>
          </p:nvPr>
        </p:nvSpPr>
        <p:spPr>
          <a:xfrm>
            <a:off x="582042" y="3178211"/>
            <a:ext cx="10673391" cy="1477328"/>
          </a:xfrm>
        </p:spPr>
        <p:txBody>
          <a:bodyPr/>
          <a:lstStyle/>
          <a:p>
            <a:pPr>
              <a:lnSpc>
                <a:spcPct val="100000"/>
              </a:lnSpc>
              <a:spcBef>
                <a:spcPts val="1200"/>
              </a:spcBef>
            </a:pPr>
            <a:r>
              <a:rPr lang="en-US" sz="4800" dirty="0"/>
              <a:t>Workshop</a:t>
            </a:r>
            <a:r>
              <a:rPr lang="en-FI" sz="4800" dirty="0"/>
              <a:t>PLUS  </a:t>
            </a:r>
            <a:br>
              <a:rPr lang="en-FI" sz="4800" dirty="0"/>
            </a:br>
            <a:r>
              <a:rPr lang="en-US" sz="4800" dirty="0"/>
              <a:t>Power Platform</a:t>
            </a:r>
            <a:r>
              <a:rPr lang="en-FI" sz="4800" dirty="0"/>
              <a:t> </a:t>
            </a:r>
            <a:r>
              <a:rPr lang="en-US" sz="4800" dirty="0"/>
              <a:t>for Administrators</a:t>
            </a:r>
          </a:p>
        </p:txBody>
      </p:sp>
      <p:sp>
        <p:nvSpPr>
          <p:cNvPr id="6" name="Subtitle 5">
            <a:extLst>
              <a:ext uri="{FF2B5EF4-FFF2-40B4-BE49-F238E27FC236}">
                <a16:creationId xmlns:a16="http://schemas.microsoft.com/office/drawing/2014/main" id="{12808BD5-6BEE-4164-9264-E55A823F2E3D}"/>
              </a:ext>
            </a:extLst>
          </p:cNvPr>
          <p:cNvSpPr>
            <a:spLocks noGrp="1"/>
          </p:cNvSpPr>
          <p:nvPr>
            <p:ph type="body" sz="quarter" idx="12"/>
          </p:nvPr>
        </p:nvSpPr>
        <p:spPr>
          <a:xfrm>
            <a:off x="582042" y="4885907"/>
            <a:ext cx="4956609" cy="1226607"/>
          </a:xfrm>
        </p:spPr>
        <p:txBody>
          <a:bodyPr>
            <a:normAutofit/>
          </a:bodyPr>
          <a:lstStyle/>
          <a:p>
            <a:r>
              <a:rPr lang="en-US" sz="2800" dirty="0"/>
              <a:t>On-Premise Data Gateways</a:t>
            </a:r>
          </a:p>
        </p:txBody>
      </p:sp>
    </p:spTree>
    <p:custDataLst>
      <p:tags r:id="rId1"/>
    </p:custDataLst>
    <p:extLst>
      <p:ext uri="{BB962C8B-B14F-4D97-AF65-F5344CB8AC3E}">
        <p14:creationId xmlns:p14="http://schemas.microsoft.com/office/powerpoint/2010/main" val="9583312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Install an on-premises data gateway</a:t>
            </a:r>
          </a:p>
        </p:txBody>
      </p:sp>
      <p:sp>
        <p:nvSpPr>
          <p:cNvPr id="3" name="Content Placeholder 2"/>
          <p:cNvSpPr>
            <a:spLocks noGrp="1"/>
          </p:cNvSpPr>
          <p:nvPr>
            <p:ph sz="quarter" idx="13"/>
            <p:custDataLst>
              <p:tags r:id="rId2"/>
            </p:custDataLst>
          </p:nvPr>
        </p:nvSpPr>
        <p:spPr>
          <a:xfrm>
            <a:off x="655638" y="1408114"/>
            <a:ext cx="10939569" cy="4819650"/>
          </a:xfrm>
        </p:spPr>
        <p:txBody>
          <a:bodyPr vert="horz" lIns="0" tIns="0" rIns="0" bIns="0" rtlCol="0" anchor="t">
            <a:normAutofit fontScale="92500"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b="1" dirty="0"/>
              <a:t>Minimum requirements</a:t>
            </a:r>
          </a:p>
          <a:p>
            <a:pPr marL="310515" indent="-310515"/>
            <a:r>
              <a:rPr lang="en-US" dirty="0"/>
              <a:t>.NET Framework 4.6 (Gateway release August 2019 and earlier)</a:t>
            </a:r>
          </a:p>
          <a:p>
            <a:pPr marL="310515" indent="-310515"/>
            <a:r>
              <a:rPr lang="en-US" dirty="0"/>
              <a:t>.NET Framework 4.7.2 (Gateway release September 2019 and later)</a:t>
            </a:r>
          </a:p>
          <a:p>
            <a:pPr marL="310515" indent="-310515"/>
            <a:r>
              <a:rPr lang="en-US" dirty="0"/>
              <a:t>A 64-bit version of Windows 8 or a 64-bit version of Windows Server 2012 R2 with current TLS 1.2 and cipher suites</a:t>
            </a:r>
          </a:p>
          <a:p>
            <a:pPr marL="310515" indent="-310515"/>
            <a:r>
              <a:rPr lang="en-US" dirty="0"/>
              <a:t>4 GB disk space for performance monitoring logs (in default configuration)</a:t>
            </a:r>
          </a:p>
          <a:p>
            <a:pPr marL="310515" indent="-310515"/>
            <a:endParaRPr lang="en-US" dirty="0"/>
          </a:p>
          <a:p>
            <a:pPr marL="0" indent="0">
              <a:buNone/>
            </a:pPr>
            <a:r>
              <a:rPr lang="en-US" b="1" dirty="0"/>
              <a:t>Recommended hardware</a:t>
            </a:r>
          </a:p>
          <a:p>
            <a:pPr marL="310515" indent="-310515"/>
            <a:r>
              <a:rPr lang="en-US" dirty="0"/>
              <a:t>An 8-core CPU</a:t>
            </a:r>
          </a:p>
          <a:p>
            <a:pPr marL="310515" indent="-310515"/>
            <a:r>
              <a:rPr lang="en-US" dirty="0"/>
              <a:t>8 GB of memory</a:t>
            </a:r>
          </a:p>
          <a:p>
            <a:pPr marL="310515" indent="-310515"/>
            <a:r>
              <a:rPr lang="en-US" dirty="0"/>
              <a:t>A 64-bit version of Windows Server 2012 R2 or later</a:t>
            </a:r>
          </a:p>
          <a:p>
            <a:pPr marL="310515" indent="-310515"/>
            <a:r>
              <a:rPr lang="en-US" dirty="0">
                <a:cs typeface="Segoe UI"/>
              </a:rPr>
              <a:t>Solid-state drive (SSD) storage for spooling</a:t>
            </a:r>
          </a:p>
          <a:p>
            <a:pPr marL="310515" indent="-310515"/>
            <a:endParaRPr lang="en-US" dirty="0"/>
          </a:p>
        </p:txBody>
      </p:sp>
      <p:sp>
        <p:nvSpPr>
          <p:cNvPr id="4" name="Footer Placeholder 2">
            <a:extLst>
              <a:ext uri="{FF2B5EF4-FFF2-40B4-BE49-F238E27FC236}">
                <a16:creationId xmlns:a16="http://schemas.microsoft.com/office/drawing/2014/main" id="{7AED6DB2-92B5-D3CC-3E2C-2D2F970E2A1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54844540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animEffect transition="in" filter="fade">
                                      <p:cBhvr>
                                        <p:cTn id="33" dur="500"/>
                                        <p:tgtEl>
                                          <p:spTgt spid="3">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10" end="10"/>
                                            </p:txEl>
                                          </p:spTgt>
                                        </p:tgtEl>
                                        <p:attrNameLst>
                                          <p:attrName>style.visibility</p:attrName>
                                        </p:attrNameLst>
                                      </p:cBhvr>
                                      <p:to>
                                        <p:strVal val="visible"/>
                                      </p:to>
                                    </p:set>
                                    <p:animEffect transition="in" filter="fade">
                                      <p:cBhvr>
                                        <p:cTn id="36"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General Considerations for installation</a:t>
            </a:r>
          </a:p>
        </p:txBody>
      </p:sp>
      <p:sp>
        <p:nvSpPr>
          <p:cNvPr id="3" name="Content Placeholder 2"/>
          <p:cNvSpPr>
            <a:spLocks noGrp="1"/>
          </p:cNvSpPr>
          <p:nvPr>
            <p:ph sz="quarter" idx="13"/>
            <p:custDataLst>
              <p:tags r:id="rId2"/>
            </p:custDataLst>
          </p:nvPr>
        </p:nvSpPr>
        <p:spPr/>
        <p:txBody>
          <a:bodyPr vert="horz" lIns="0" tIns="0" rIns="0" bIns="0" rtlCol="0" anchor="t">
            <a:normAutofit fontScale="92500"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0"/>
              </a:spcBef>
              <a:spcAft>
                <a:spcPts val="1200"/>
              </a:spcAft>
            </a:pPr>
            <a:r>
              <a:rPr lang="en-US" dirty="0"/>
              <a:t>Server Core and Domain Controller installation not supported</a:t>
            </a:r>
            <a:endParaRPr lang="en-US"/>
          </a:p>
          <a:p>
            <a:pPr marL="310515" indent="-310515">
              <a:spcBef>
                <a:spcPts val="0"/>
              </a:spcBef>
              <a:spcAft>
                <a:spcPts val="1200"/>
              </a:spcAft>
            </a:pPr>
            <a:r>
              <a:rPr lang="en-US" dirty="0"/>
              <a:t>The user installing the gateway will be the </a:t>
            </a:r>
            <a:r>
              <a:rPr lang="en-US" u="sng" dirty="0"/>
              <a:t>admin of the gateway</a:t>
            </a:r>
            <a:r>
              <a:rPr lang="en-US" dirty="0"/>
              <a:t>.</a:t>
            </a:r>
          </a:p>
          <a:p>
            <a:pPr marL="310515" indent="-310515">
              <a:spcBef>
                <a:spcPts val="0"/>
              </a:spcBef>
              <a:spcAft>
                <a:spcPts val="1200"/>
              </a:spcAft>
            </a:pPr>
            <a:r>
              <a:rPr lang="en-US" dirty="0"/>
              <a:t>If you're planning to use Windows authentication, the gateway computer must be member of the same Active Directory environment as the data sources.</a:t>
            </a:r>
          </a:p>
          <a:p>
            <a:pPr marL="310515" indent="-310515">
              <a:spcBef>
                <a:spcPts val="0"/>
              </a:spcBef>
              <a:spcAft>
                <a:spcPts val="1200"/>
              </a:spcAft>
            </a:pPr>
            <a:r>
              <a:rPr lang="en-US" dirty="0"/>
              <a:t>Don't install a gateway on a client machine, like a laptop, that might be turned off, asleep, or disconnected from the internet.</a:t>
            </a:r>
          </a:p>
          <a:p>
            <a:pPr marL="310515" indent="-310515">
              <a:spcBef>
                <a:spcPts val="0"/>
              </a:spcBef>
              <a:spcAft>
                <a:spcPts val="1200"/>
              </a:spcAft>
            </a:pPr>
            <a:r>
              <a:rPr lang="en-US" dirty="0">
                <a:cs typeface="Segoe UI"/>
              </a:rPr>
              <a:t>To optimize performance, it is </a:t>
            </a:r>
            <a:r>
              <a:rPr lang="en-US" b="1" dirty="0">
                <a:cs typeface="Segoe UI"/>
              </a:rPr>
              <a:t>not</a:t>
            </a:r>
            <a:r>
              <a:rPr lang="en-US" dirty="0">
                <a:cs typeface="Segoe UI"/>
              </a:rPr>
              <a:t> recommended to use WLAN connection, and computer should also be dedicated for Data Gateway not having other applications running on the same machine.</a:t>
            </a:r>
          </a:p>
          <a:p>
            <a:pPr marL="310515" indent="-310515">
              <a:spcBef>
                <a:spcPts val="0"/>
              </a:spcBef>
              <a:spcAft>
                <a:spcPts val="1200"/>
              </a:spcAft>
            </a:pPr>
            <a:r>
              <a:rPr lang="en-US" dirty="0"/>
              <a:t>You can install up to two gateways on a single computer: one running in personal mode and the other running in standard mode. You can't have more than one gateway running in the same mode on the same computer.</a:t>
            </a:r>
          </a:p>
          <a:p>
            <a:pPr marL="0" indent="0">
              <a:buNone/>
            </a:pPr>
            <a:endParaRPr lang="en-US" dirty="0"/>
          </a:p>
        </p:txBody>
      </p:sp>
      <p:sp>
        <p:nvSpPr>
          <p:cNvPr id="4" name="Footer Placeholder 2">
            <a:extLst>
              <a:ext uri="{FF2B5EF4-FFF2-40B4-BE49-F238E27FC236}">
                <a16:creationId xmlns:a16="http://schemas.microsoft.com/office/drawing/2014/main" id="{E7D576C1-ACEA-A2F5-141E-E4D895E91F0B}"/>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7162143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 </a:t>
            </a:r>
          </a:p>
        </p:txBody>
      </p:sp>
      <p:sp>
        <p:nvSpPr>
          <p:cNvPr id="17" name="Rectangle 16">
            <a:extLst>
              <a:ext uri="{FF2B5EF4-FFF2-40B4-BE49-F238E27FC236}">
                <a16:creationId xmlns:a16="http://schemas.microsoft.com/office/drawing/2014/main" id="{ACB878CC-94A7-4ED0-A6E6-34F9BAEF01B0}"/>
              </a:ext>
            </a:extLst>
          </p:cNvPr>
          <p:cNvSpPr>
            <a:spLocks/>
          </p:cNvSpPr>
          <p:nvPr/>
        </p:nvSpPr>
        <p:spPr bwMode="auto">
          <a:xfrm>
            <a:off x="0" y="2343006"/>
            <a:ext cx="7445375" cy="3561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6928" tIns="192024" rIns="182880" bIns="182880" numCol="1" spcCol="0" rtlCol="0" fromWordArt="0" anchor="t" anchorCtr="0" forceAA="0" compatLnSpc="1">
            <a:prstTxWarp prst="textNoShape">
              <a:avLst/>
            </a:prstTxWarp>
            <a:noAutofit/>
          </a:bodyPr>
          <a:lstStyle/>
          <a:p>
            <a:pPr lvl="0" defTabSz="914460">
              <a:lnSpc>
                <a:spcPct val="90000"/>
              </a:lnSpc>
              <a:spcAft>
                <a:spcPts val="333"/>
              </a:spcAft>
              <a:defRPr/>
            </a:pPr>
            <a:r>
              <a:rPr lang="en-US" sz="1600" noProof="1">
                <a:solidFill>
                  <a:prstClr val="black"/>
                </a:solidFill>
                <a:latin typeface="Segoe UI Light" pitchFamily="34" charset="0"/>
              </a:rPr>
              <a:t>In LAB environment install data gateway to ContosoGateway server</a:t>
            </a:r>
          </a:p>
          <a:p>
            <a:pPr lvl="0" defTabSz="914460">
              <a:lnSpc>
                <a:spcPct val="90000"/>
              </a:lnSpc>
              <a:spcAft>
                <a:spcPts val="333"/>
              </a:spcAft>
              <a:defRPr/>
            </a:pPr>
            <a:endParaRPr lang="en-US" sz="1600" noProof="1">
              <a:solidFill>
                <a:prstClr val="black"/>
              </a:solidFill>
              <a:latin typeface="Segoe UI Light" pitchFamily="34" charset="0"/>
            </a:endParaRPr>
          </a:p>
          <a:p>
            <a:pPr marL="228600" lvl="0" indent="-228600" defTabSz="914460">
              <a:lnSpc>
                <a:spcPct val="200000"/>
              </a:lnSpc>
              <a:spcAft>
                <a:spcPts val="333"/>
              </a:spcAft>
              <a:buAutoNum type="arabicPeriod"/>
              <a:defRPr/>
            </a:pPr>
            <a:r>
              <a:rPr lang="en-US" sz="1600" b="0" noProof="1">
                <a:solidFill>
                  <a:prstClr val="black"/>
                </a:solidFill>
                <a:latin typeface="Segoe UI Light" pitchFamily="34" charset="0"/>
              </a:rPr>
              <a:t>Download latest version (explain that we release new version every month)</a:t>
            </a:r>
          </a:p>
          <a:p>
            <a:pPr marL="228600" lvl="0" indent="-228600" defTabSz="914460">
              <a:lnSpc>
                <a:spcPct val="200000"/>
              </a:lnSpc>
              <a:spcAft>
                <a:spcPts val="333"/>
              </a:spcAft>
              <a:buAutoNum type="arabicPeriod"/>
              <a:defRPr/>
            </a:pPr>
            <a:r>
              <a:rPr lang="en-US" sz="1600" b="0" noProof="1">
                <a:solidFill>
                  <a:prstClr val="black"/>
                </a:solidFill>
                <a:latin typeface="Segoe UI Light" pitchFamily="34" charset="0"/>
              </a:rPr>
              <a:t>Install gateway using MOD admin creds</a:t>
            </a:r>
            <a:endParaRPr lang="en-FI" sz="1600" b="0" noProof="1">
              <a:solidFill>
                <a:prstClr val="black"/>
              </a:solidFill>
              <a:latin typeface="Segoe UI Light" pitchFamily="34" charset="0"/>
            </a:endParaRPr>
          </a:p>
          <a:p>
            <a:pPr marL="228600" lvl="0" indent="-228600" defTabSz="914460">
              <a:lnSpc>
                <a:spcPct val="200000"/>
              </a:lnSpc>
              <a:spcAft>
                <a:spcPts val="333"/>
              </a:spcAft>
              <a:buAutoNum type="arabicPeriod"/>
              <a:defRPr/>
            </a:pPr>
            <a:r>
              <a:rPr lang="en-FI" sz="1600" b="0" noProof="1">
                <a:solidFill>
                  <a:prstClr val="black"/>
                </a:solidFill>
                <a:latin typeface="Segoe UI Light" pitchFamily="34" charset="0"/>
              </a:rPr>
              <a:t>OPTIONAL – skip slides of the next section by demoing gateway features</a:t>
            </a:r>
            <a:endParaRPr lang="en-US" sz="1600" b="0" dirty="0">
              <a:solidFill>
                <a:prstClr val="black"/>
              </a:solidFill>
              <a:latin typeface="Segoe UI Light" pitchFamily="34" charset="0"/>
            </a:endParaRPr>
          </a:p>
        </p:txBody>
      </p:sp>
      <p:sp>
        <p:nvSpPr>
          <p:cNvPr id="11" name="Rectangle 10">
            <a:extLst>
              <a:ext uri="{FF2B5EF4-FFF2-40B4-BE49-F238E27FC236}">
                <a16:creationId xmlns:a16="http://schemas.microsoft.com/office/drawing/2014/main" id="{01FC910E-FB3C-4F1D-8D0A-74126A3B92CC}"/>
              </a:ext>
              <a:ext uri="{C183D7F6-B498-43B3-948B-1728B52AA6E4}">
                <adec:decorative xmlns:adec="http://schemas.microsoft.com/office/drawing/2017/decorative" val="1"/>
              </a:ext>
            </a:extLst>
          </p:cNvPr>
          <p:cNvSpPr/>
          <p:nvPr/>
        </p:nvSpPr>
        <p:spPr bwMode="auto">
          <a:xfrm>
            <a:off x="7445375" y="1988457"/>
            <a:ext cx="4175125" cy="4270107"/>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Footer Placeholder 3">
            <a:extLst>
              <a:ext uri="{FF2B5EF4-FFF2-40B4-BE49-F238E27FC236}">
                <a16:creationId xmlns:a16="http://schemas.microsoft.com/office/drawing/2014/main" id="{15716BB7-975A-42A8-B6AF-DE8E83CD26C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3" name="Slide Number Placeholder 7">
            <a:extLst>
              <a:ext uri="{FF2B5EF4-FFF2-40B4-BE49-F238E27FC236}">
                <a16:creationId xmlns:a16="http://schemas.microsoft.com/office/drawing/2014/main" id="{B5EBF1C7-A949-4960-9751-990E1F690F49}"/>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12</a:t>
            </a:fld>
            <a:endParaRPr lang="en-US" noProof="0"/>
          </a:p>
        </p:txBody>
      </p:sp>
      <p:sp>
        <p:nvSpPr>
          <p:cNvPr id="5" name="Text Placeholder 4">
            <a:extLst>
              <a:ext uri="{FF2B5EF4-FFF2-40B4-BE49-F238E27FC236}">
                <a16:creationId xmlns:a16="http://schemas.microsoft.com/office/drawing/2014/main" id="{3F83BB97-773A-4BFE-A8A1-A09521541F7F}"/>
              </a:ext>
            </a:extLst>
          </p:cNvPr>
          <p:cNvSpPr>
            <a:spLocks noGrp="1"/>
          </p:cNvSpPr>
          <p:nvPr>
            <p:ph type="body" sz="quarter" idx="12"/>
          </p:nvPr>
        </p:nvSpPr>
        <p:spPr>
          <a:xfrm>
            <a:off x="584201" y="1310646"/>
            <a:ext cx="11018520" cy="553998"/>
          </a:xfrm>
        </p:spPr>
        <p:txBody>
          <a:bodyPr/>
          <a:lstStyle/>
          <a:p>
            <a:r>
              <a:rPr lang="en-US" dirty="0"/>
              <a:t>Install On-premise Data Gateway</a:t>
            </a:r>
          </a:p>
          <a:p>
            <a:endParaRPr lang="en-US" dirty="0"/>
          </a:p>
        </p:txBody>
      </p:sp>
      <p:pic>
        <p:nvPicPr>
          <p:cNvPr id="4"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795CE09A-BB58-2982-C438-A46B0562D75B}"/>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5986" r="5986"/>
          <a:stretch/>
        </p:blipFill>
        <p:spPr>
          <a:xfrm>
            <a:off x="7911662" y="2409010"/>
            <a:ext cx="3429000" cy="3429000"/>
          </a:xfrm>
          <a:prstGeom prst="rect">
            <a:avLst/>
          </a:prstGeom>
        </p:spPr>
      </p:pic>
    </p:spTree>
    <p:custDataLst>
      <p:tags r:id="rId1"/>
    </p:custDataLst>
    <p:extLst>
      <p:ext uri="{BB962C8B-B14F-4D97-AF65-F5344CB8AC3E}">
        <p14:creationId xmlns:p14="http://schemas.microsoft.com/office/powerpoint/2010/main" val="984083080"/>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9996714" cy="830997"/>
          </a:xfrm>
        </p:spPr>
        <p:txBody>
          <a:bodyPr/>
          <a:lstStyle/>
          <a:p>
            <a:pPr>
              <a:lnSpc>
                <a:spcPct val="100000"/>
              </a:lnSpc>
            </a:pPr>
            <a:r>
              <a:rPr lang="en-US" sz="5400" dirty="0"/>
              <a:t>Data Gateway App Feature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4238217"/>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 Gateway App Feature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a:normAutofit/>
          </a:bodyPr>
          <a:lstStyle/>
          <a:p>
            <a:pPr lvl="1"/>
            <a:r>
              <a:rPr lang="en-US" sz="2400" dirty="0"/>
              <a:t>Status</a:t>
            </a:r>
          </a:p>
        </p:txBody>
      </p:sp>
      <p:sp>
        <p:nvSpPr>
          <p:cNvPr id="3" name="Content Placeholder 2"/>
          <p:cNvSpPr>
            <a:spLocks noGrp="1"/>
          </p:cNvSpPr>
          <p:nvPr>
            <p:ph sz="quarter" idx="13"/>
            <p:custDataLst>
              <p:tags r:id="rId2"/>
            </p:custDataLst>
          </p:nvPr>
        </p:nvSpPr>
        <p:spPr>
          <a:xfrm>
            <a:off x="655638" y="1408114"/>
            <a:ext cx="5698992"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r>
              <a:rPr lang="en-US" dirty="0"/>
              <a:t>Gateway status (online/offline)</a:t>
            </a:r>
          </a:p>
          <a:p>
            <a:pPr marL="310515" indent="-310515"/>
            <a:r>
              <a:rPr lang="en-US" dirty="0"/>
              <a:t>Version number of the gateway</a:t>
            </a:r>
          </a:p>
          <a:p>
            <a:pPr marL="310515" indent="-310515"/>
            <a:r>
              <a:rPr lang="en-US" dirty="0">
                <a:cs typeface="Segoe UI"/>
              </a:rPr>
              <a:t>List of any apps currently associated with the gateway</a:t>
            </a:r>
          </a:p>
          <a:p>
            <a:pPr marL="0" indent="0">
              <a:buNone/>
            </a:pPr>
            <a:endParaRPr lang="en-US" dirty="0"/>
          </a:p>
        </p:txBody>
      </p:sp>
      <p:pic>
        <p:nvPicPr>
          <p:cNvPr id="7" name="Picture 6">
            <a:extLst>
              <a:ext uri="{FF2B5EF4-FFF2-40B4-BE49-F238E27FC236}">
                <a16:creationId xmlns:a16="http://schemas.microsoft.com/office/drawing/2014/main" id="{178746F5-9B42-42D5-A3BF-D47AD666D612}"/>
              </a:ext>
            </a:extLst>
          </p:cNvPr>
          <p:cNvPicPr>
            <a:picLocks noChangeAspect="1"/>
          </p:cNvPicPr>
          <p:nvPr/>
        </p:nvPicPr>
        <p:blipFill>
          <a:blip r:embed="rId5"/>
          <a:stretch>
            <a:fillRect/>
          </a:stretch>
        </p:blipFill>
        <p:spPr>
          <a:xfrm>
            <a:off x="6493009" y="1248047"/>
            <a:ext cx="5698992" cy="4970887"/>
          </a:xfrm>
          <a:prstGeom prst="rect">
            <a:avLst/>
          </a:prstGeom>
        </p:spPr>
      </p:pic>
      <p:sp>
        <p:nvSpPr>
          <p:cNvPr id="4" name="Footer Placeholder 2">
            <a:extLst>
              <a:ext uri="{FF2B5EF4-FFF2-40B4-BE49-F238E27FC236}">
                <a16:creationId xmlns:a16="http://schemas.microsoft.com/office/drawing/2014/main" id="{FECB46B4-57D3-C94E-3C5D-43C18A783B3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78527293"/>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 Gateway App Feature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a:normAutofit/>
          </a:bodyPr>
          <a:lstStyle/>
          <a:p>
            <a:pPr lvl="1"/>
            <a:r>
              <a:rPr lang="en-US" sz="2400" dirty="0"/>
              <a:t>Service Settings</a:t>
            </a:r>
          </a:p>
        </p:txBody>
      </p:sp>
      <p:sp>
        <p:nvSpPr>
          <p:cNvPr id="3" name="Content Placeholder 2"/>
          <p:cNvSpPr>
            <a:spLocks noGrp="1"/>
          </p:cNvSpPr>
          <p:nvPr>
            <p:ph sz="quarter" idx="13"/>
            <p:custDataLst>
              <p:tags r:id="rId2"/>
            </p:custDataLst>
          </p:nvPr>
        </p:nvSpPr>
        <p:spPr>
          <a:xfrm>
            <a:off x="655639" y="1408114"/>
            <a:ext cx="5676006"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dirty="0">
                <a:cs typeface="Segoe UI"/>
              </a:rPr>
              <a:t>Provides a way of restarting the gateway whenever a restart is needed</a:t>
            </a:r>
          </a:p>
          <a:p>
            <a:pPr marL="0" indent="0">
              <a:buNone/>
            </a:pPr>
            <a:endParaRPr lang="en-US" sz="2000" dirty="0"/>
          </a:p>
          <a:p>
            <a:pPr marL="0" indent="0">
              <a:buNone/>
            </a:pPr>
            <a:r>
              <a:rPr lang="en-US" u="sng" dirty="0"/>
              <a:t>Gateway service account</a:t>
            </a:r>
          </a:p>
          <a:p>
            <a:pPr marL="310515" indent="-310515"/>
            <a:r>
              <a:rPr lang="en-US" sz="2000" dirty="0"/>
              <a:t>By default, configured to use </a:t>
            </a:r>
            <a:r>
              <a:rPr lang="en-US" sz="2000" b="1" dirty="0"/>
              <a:t>NT SERVICE\</a:t>
            </a:r>
            <a:r>
              <a:rPr lang="en-US" sz="2000" b="1" dirty="0" err="1"/>
              <a:t>PBIEgwService</a:t>
            </a:r>
            <a:r>
              <a:rPr lang="en-US" sz="2000" dirty="0"/>
              <a:t> for the Windows service sign-in credential</a:t>
            </a:r>
          </a:p>
          <a:p>
            <a:pPr marL="310515" indent="-310515"/>
            <a:r>
              <a:rPr lang="en-US" sz="2000" dirty="0"/>
              <a:t>Possibility to change gateway service account to use Active Directory user account or managed service account</a:t>
            </a:r>
          </a:p>
          <a:p>
            <a:pPr marL="0" indent="0">
              <a:buNone/>
            </a:pPr>
            <a:endParaRPr lang="en-US" dirty="0"/>
          </a:p>
          <a:p>
            <a:pPr marL="0" indent="0">
              <a:buNone/>
            </a:pPr>
            <a:endParaRPr lang="en-US" dirty="0"/>
          </a:p>
        </p:txBody>
      </p:sp>
      <p:pic>
        <p:nvPicPr>
          <p:cNvPr id="8" name="Picture 7">
            <a:extLst>
              <a:ext uri="{FF2B5EF4-FFF2-40B4-BE49-F238E27FC236}">
                <a16:creationId xmlns:a16="http://schemas.microsoft.com/office/drawing/2014/main" id="{0F61ECE4-7D4D-4E4D-B799-348C5F610EF2}"/>
              </a:ext>
            </a:extLst>
          </p:cNvPr>
          <p:cNvPicPr>
            <a:picLocks noChangeAspect="1"/>
          </p:cNvPicPr>
          <p:nvPr/>
        </p:nvPicPr>
        <p:blipFill>
          <a:blip r:embed="rId5"/>
          <a:stretch>
            <a:fillRect/>
          </a:stretch>
        </p:blipFill>
        <p:spPr>
          <a:xfrm>
            <a:off x="6605990" y="1408113"/>
            <a:ext cx="5586461" cy="4416384"/>
          </a:xfrm>
          <a:prstGeom prst="rect">
            <a:avLst/>
          </a:prstGeom>
        </p:spPr>
      </p:pic>
      <p:sp>
        <p:nvSpPr>
          <p:cNvPr id="4" name="Footer Placeholder 2">
            <a:extLst>
              <a:ext uri="{FF2B5EF4-FFF2-40B4-BE49-F238E27FC236}">
                <a16:creationId xmlns:a16="http://schemas.microsoft.com/office/drawing/2014/main" id="{62921E13-82BF-42BB-51F2-F0CE792ADE08}"/>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017544052"/>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 Gateway App Feature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a:normAutofit/>
          </a:bodyPr>
          <a:lstStyle/>
          <a:p>
            <a:pPr lvl="1"/>
            <a:r>
              <a:rPr lang="en-US" sz="2400" dirty="0"/>
              <a:t>Diagnostics</a:t>
            </a:r>
          </a:p>
        </p:txBody>
      </p:sp>
      <p:sp>
        <p:nvSpPr>
          <p:cNvPr id="3" name="Content Placeholder 2"/>
          <p:cNvSpPr>
            <a:spLocks noGrp="1"/>
          </p:cNvSpPr>
          <p:nvPr>
            <p:ph sz="quarter" idx="13"/>
            <p:custDataLst>
              <p:tags r:id="rId2"/>
            </p:custDataLst>
          </p:nvPr>
        </p:nvSpPr>
        <p:spPr>
          <a:xfrm>
            <a:off x="655637" y="1408114"/>
            <a:ext cx="6198521" cy="4819650"/>
          </a:xfrm>
        </p:spPr>
        <p:txBody>
          <a:bodyPr>
            <a:normAutofit fontScale="92500" lnSpcReduction="2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2000" u="sng" dirty="0"/>
              <a:t>Additional logging</a:t>
            </a:r>
          </a:p>
          <a:p>
            <a:r>
              <a:rPr lang="en-US" sz="2000" dirty="0"/>
              <a:t>Provides additional verbose information in the log file, which includes duration information. This information can be useful in figuring out why some responses through the gateway are slow</a:t>
            </a:r>
          </a:p>
          <a:p>
            <a:r>
              <a:rPr lang="en-US" sz="2000" dirty="0"/>
              <a:t>Enabling this feature could </a:t>
            </a:r>
            <a:r>
              <a:rPr lang="en-US" sz="2000" b="1" dirty="0"/>
              <a:t>increase</a:t>
            </a:r>
            <a:r>
              <a:rPr lang="en-US" sz="2000" dirty="0"/>
              <a:t> the log size significantly depending on gateway usage. So, we recommend that you don't leave this setting enabled long term.</a:t>
            </a:r>
          </a:p>
          <a:p>
            <a:pPr marL="0" indent="0">
              <a:buNone/>
            </a:pPr>
            <a:endParaRPr lang="en-US" sz="2000" dirty="0"/>
          </a:p>
          <a:p>
            <a:pPr marL="0" indent="0">
              <a:buNone/>
            </a:pPr>
            <a:r>
              <a:rPr lang="en-US" u="sng" dirty="0"/>
              <a:t>Gateway logs</a:t>
            </a:r>
          </a:p>
          <a:p>
            <a:r>
              <a:rPr lang="en-US" sz="2000" dirty="0"/>
              <a:t>Provides a copy of all of the gateway logs in a single file in .zip format</a:t>
            </a:r>
          </a:p>
          <a:p>
            <a:pPr marL="0" indent="0">
              <a:buNone/>
            </a:pPr>
            <a:endParaRPr lang="en-US" sz="2000" u="sng" dirty="0"/>
          </a:p>
          <a:p>
            <a:pPr marL="0" indent="0">
              <a:buNone/>
            </a:pPr>
            <a:r>
              <a:rPr lang="en-US" sz="2000" u="sng" dirty="0"/>
              <a:t>Network ports test</a:t>
            </a:r>
            <a:endParaRPr lang="en-US" sz="2000" dirty="0"/>
          </a:p>
          <a:p>
            <a:r>
              <a:rPr lang="en-US" sz="2000" u="none" strike="noStrike" dirty="0">
                <a:effectLst/>
              </a:rPr>
              <a:t>Checks if the gateway has </a:t>
            </a:r>
            <a:r>
              <a:rPr lang="en-US" sz="2000" u="none" strike="noStrike" dirty="0">
                <a:effectLst/>
                <a:hlinkClick r:id="rId5"/>
              </a:rPr>
              <a:t>access to all required ports</a:t>
            </a:r>
            <a:r>
              <a:rPr lang="en-US" sz="2000" u="none" strike="noStrike" dirty="0">
                <a:effectLst/>
              </a:rPr>
              <a:t>.</a:t>
            </a:r>
            <a:endParaRPr lang="en-US" sz="2000" b="0" i="0" u="none" strike="noStrike" dirty="0">
              <a:effectLst/>
              <a:latin typeface="Arial" panose="020B0604020202020204" pitchFamily="34" charset="0"/>
            </a:endParaRPr>
          </a:p>
          <a:p>
            <a:endParaRPr lang="en-US" sz="2000" dirty="0"/>
          </a:p>
          <a:p>
            <a:pPr marL="0" indent="0">
              <a:buNone/>
            </a:pPr>
            <a:endParaRPr lang="en-US" dirty="0"/>
          </a:p>
          <a:p>
            <a:pPr marL="0" indent="0">
              <a:buNone/>
            </a:pPr>
            <a:endParaRPr lang="en-US" dirty="0"/>
          </a:p>
        </p:txBody>
      </p:sp>
      <p:pic>
        <p:nvPicPr>
          <p:cNvPr id="8" name="Picture 7">
            <a:extLst>
              <a:ext uri="{FF2B5EF4-FFF2-40B4-BE49-F238E27FC236}">
                <a16:creationId xmlns:a16="http://schemas.microsoft.com/office/drawing/2014/main" id="{D4508D84-379D-4ED3-A33F-21612F8C9A5A}"/>
              </a:ext>
            </a:extLst>
          </p:cNvPr>
          <p:cNvPicPr>
            <a:picLocks noChangeAspect="1"/>
          </p:cNvPicPr>
          <p:nvPr/>
        </p:nvPicPr>
        <p:blipFill>
          <a:blip r:embed="rId6"/>
          <a:stretch>
            <a:fillRect/>
          </a:stretch>
        </p:blipFill>
        <p:spPr>
          <a:xfrm>
            <a:off x="7011473" y="1305332"/>
            <a:ext cx="5180527" cy="4165700"/>
          </a:xfrm>
          <a:prstGeom prst="rect">
            <a:avLst/>
          </a:prstGeom>
        </p:spPr>
      </p:pic>
      <p:sp>
        <p:nvSpPr>
          <p:cNvPr id="4" name="Footer Placeholder 2">
            <a:extLst>
              <a:ext uri="{FF2B5EF4-FFF2-40B4-BE49-F238E27FC236}">
                <a16:creationId xmlns:a16="http://schemas.microsoft.com/office/drawing/2014/main" id="{D912A2A9-9265-2CA6-96AB-4B0608651ADE}"/>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949182702"/>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 Gateway App Feature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a:normAutofit/>
          </a:bodyPr>
          <a:lstStyle/>
          <a:p>
            <a:pPr lvl="1"/>
            <a:r>
              <a:rPr lang="en-US" sz="2400" dirty="0"/>
              <a:t>Network</a:t>
            </a:r>
          </a:p>
        </p:txBody>
      </p:sp>
      <p:sp>
        <p:nvSpPr>
          <p:cNvPr id="3" name="Content Placeholder 2"/>
          <p:cNvSpPr>
            <a:spLocks noGrp="1"/>
          </p:cNvSpPr>
          <p:nvPr>
            <p:ph sz="quarter" idx="13"/>
            <p:custDataLst>
              <p:tags r:id="rId2"/>
            </p:custDataLst>
          </p:nvPr>
        </p:nvSpPr>
        <p:spPr>
          <a:xfrm>
            <a:off x="655638" y="1408114"/>
            <a:ext cx="5092020"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2000" u="sng" dirty="0"/>
              <a:t>HTTPS mode</a:t>
            </a:r>
          </a:p>
          <a:p>
            <a:pPr algn="l" fontAlgn="t">
              <a:spcBef>
                <a:spcPts val="0"/>
              </a:spcBef>
              <a:spcAft>
                <a:spcPts val="0"/>
              </a:spcAft>
            </a:pPr>
            <a:r>
              <a:rPr lang="en-US" sz="2000" u="none" strike="noStrike" dirty="0">
                <a:effectLst/>
              </a:rPr>
              <a:t>Forces the gateway to communicate with Azure Service Bus by using </a:t>
            </a:r>
            <a:r>
              <a:rPr lang="en-US" sz="2000" u="none" strike="noStrike" dirty="0">
                <a:effectLst/>
                <a:hlinkClick r:id="rId5"/>
              </a:rPr>
              <a:t>HTTPS instead of TCP</a:t>
            </a:r>
            <a:r>
              <a:rPr lang="en-US" sz="2000" u="none" strike="noStrike" dirty="0">
                <a:effectLst/>
              </a:rPr>
              <a:t> when turned on.</a:t>
            </a:r>
            <a:endParaRPr lang="en-US" sz="2000" b="0" i="0" u="none" strike="noStrike" dirty="0">
              <a:effectLst/>
              <a:latin typeface="Arial" panose="020B0604020202020204" pitchFamily="34" charset="0"/>
            </a:endParaRPr>
          </a:p>
          <a:p>
            <a:pPr marL="0" indent="0">
              <a:buNone/>
            </a:pPr>
            <a:endParaRPr lang="en-US" sz="2000" dirty="0"/>
          </a:p>
          <a:p>
            <a:endParaRPr lang="en-US" sz="2000" dirty="0"/>
          </a:p>
          <a:p>
            <a:pPr marL="0" indent="0">
              <a:buNone/>
            </a:pPr>
            <a:endParaRPr lang="en-US" dirty="0"/>
          </a:p>
          <a:p>
            <a:pPr marL="0" indent="0">
              <a:buNone/>
            </a:pPr>
            <a:endParaRPr lang="en-US" dirty="0"/>
          </a:p>
        </p:txBody>
      </p:sp>
      <p:pic>
        <p:nvPicPr>
          <p:cNvPr id="5" name="Picture 4">
            <a:extLst>
              <a:ext uri="{FF2B5EF4-FFF2-40B4-BE49-F238E27FC236}">
                <a16:creationId xmlns:a16="http://schemas.microsoft.com/office/drawing/2014/main" id="{04B789A1-5AAA-4C6C-ADE9-35C1B7461A3F}"/>
              </a:ext>
            </a:extLst>
          </p:cNvPr>
          <p:cNvPicPr>
            <a:picLocks noChangeAspect="1"/>
          </p:cNvPicPr>
          <p:nvPr/>
        </p:nvPicPr>
        <p:blipFill>
          <a:blip r:embed="rId6"/>
          <a:stretch>
            <a:fillRect/>
          </a:stretch>
        </p:blipFill>
        <p:spPr>
          <a:xfrm>
            <a:off x="6311316" y="1354835"/>
            <a:ext cx="5826895" cy="4926208"/>
          </a:xfrm>
          <a:prstGeom prst="rect">
            <a:avLst/>
          </a:prstGeom>
        </p:spPr>
      </p:pic>
      <p:sp>
        <p:nvSpPr>
          <p:cNvPr id="4" name="Footer Placeholder 2">
            <a:extLst>
              <a:ext uri="{FF2B5EF4-FFF2-40B4-BE49-F238E27FC236}">
                <a16:creationId xmlns:a16="http://schemas.microsoft.com/office/drawing/2014/main" id="{B761CAA0-B358-8892-7F69-4A8D0911AC7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2518479292"/>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 Gateway App Feature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vert="horz" lIns="0" tIns="0" rIns="0" bIns="0" rtlCol="0" anchor="t">
            <a:normAutofit/>
          </a:bodyPr>
          <a:lstStyle/>
          <a:p>
            <a:pPr lvl="1"/>
            <a:r>
              <a:rPr lang="en-US" sz="2400" dirty="0"/>
              <a:t>Custom Data Connectors</a:t>
            </a:r>
          </a:p>
        </p:txBody>
      </p:sp>
      <p:sp>
        <p:nvSpPr>
          <p:cNvPr id="3" name="Content Placeholder 2"/>
          <p:cNvSpPr>
            <a:spLocks noGrp="1"/>
          </p:cNvSpPr>
          <p:nvPr>
            <p:ph sz="quarter" idx="13"/>
            <p:custDataLst>
              <p:tags r:id="rId2"/>
            </p:custDataLst>
          </p:nvPr>
        </p:nvSpPr>
        <p:spPr>
          <a:xfrm>
            <a:off x="655638" y="1408114"/>
            <a:ext cx="5092020"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2000" u="sng" dirty="0"/>
              <a:t>Custom data connectors</a:t>
            </a:r>
          </a:p>
          <a:p>
            <a:pPr marL="310515" indent="-310515" fontAlgn="t">
              <a:spcBef>
                <a:spcPts val="0"/>
              </a:spcBef>
            </a:pPr>
            <a:r>
              <a:rPr lang="en-US" sz="2000" dirty="0">
                <a:cs typeface="Segoe UI"/>
              </a:rPr>
              <a:t>You</a:t>
            </a:r>
            <a:r>
              <a:rPr lang="en-US" sz="2000" dirty="0">
                <a:ea typeface="+mn-lt"/>
                <a:cs typeface="+mn-lt"/>
              </a:rPr>
              <a:t> </a:t>
            </a:r>
            <a:r>
              <a:rPr lang="en-US" sz="2000" u="none" strike="noStrike" dirty="0">
                <a:effectLst/>
                <a:ea typeface="+mn-lt"/>
                <a:cs typeface="+mn-lt"/>
              </a:rPr>
              <a:t>can connect to and access data from</a:t>
            </a:r>
            <a:r>
              <a:rPr lang="en-US" sz="2000" dirty="0">
                <a:ea typeface="+mn-lt"/>
                <a:cs typeface="+mn-lt"/>
              </a:rPr>
              <a:t> </a:t>
            </a:r>
            <a:r>
              <a:rPr lang="en-US" sz="2000" u="none" strike="noStrike" dirty="0">
                <a:effectLst/>
                <a:ea typeface="+mn-lt"/>
                <a:cs typeface="+mn-lt"/>
              </a:rPr>
              <a:t>Power BI by using custom data connectors that you develop.</a:t>
            </a:r>
          </a:p>
          <a:p>
            <a:pPr marL="310515" indent="-310515"/>
            <a:endParaRPr lang="en-US" sz="2000" dirty="0"/>
          </a:p>
          <a:p>
            <a:pPr marL="0" indent="0">
              <a:buNone/>
            </a:pPr>
            <a:endParaRPr lang="en-US" dirty="0"/>
          </a:p>
          <a:p>
            <a:pPr marL="0" indent="0">
              <a:buNone/>
            </a:pPr>
            <a:endParaRPr lang="en-US" dirty="0"/>
          </a:p>
        </p:txBody>
      </p:sp>
      <p:pic>
        <p:nvPicPr>
          <p:cNvPr id="6" name="Picture 5">
            <a:extLst>
              <a:ext uri="{FF2B5EF4-FFF2-40B4-BE49-F238E27FC236}">
                <a16:creationId xmlns:a16="http://schemas.microsoft.com/office/drawing/2014/main" id="{57B3F7EF-753B-4FE3-9147-15AF832F5C61}"/>
              </a:ext>
            </a:extLst>
          </p:cNvPr>
          <p:cNvPicPr>
            <a:picLocks noChangeAspect="1"/>
          </p:cNvPicPr>
          <p:nvPr/>
        </p:nvPicPr>
        <p:blipFill>
          <a:blip r:embed="rId5"/>
          <a:stretch>
            <a:fillRect/>
          </a:stretch>
        </p:blipFill>
        <p:spPr>
          <a:xfrm>
            <a:off x="6039200" y="1505783"/>
            <a:ext cx="6152800" cy="4951309"/>
          </a:xfrm>
          <a:prstGeom prst="rect">
            <a:avLst/>
          </a:prstGeom>
        </p:spPr>
      </p:pic>
      <p:sp>
        <p:nvSpPr>
          <p:cNvPr id="4" name="Footer Placeholder 2">
            <a:extLst>
              <a:ext uri="{FF2B5EF4-FFF2-40B4-BE49-F238E27FC236}">
                <a16:creationId xmlns:a16="http://schemas.microsoft.com/office/drawing/2014/main" id="{943995CC-676C-AB74-782E-3A0638D9C3F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808683343"/>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Data Gateway App Features</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p:txBody>
          <a:bodyPr>
            <a:normAutofit/>
          </a:bodyPr>
          <a:lstStyle/>
          <a:p>
            <a:pPr lvl="1"/>
            <a:r>
              <a:rPr lang="en-US" sz="2400" dirty="0"/>
              <a:t>Recovery Keys</a:t>
            </a:r>
          </a:p>
        </p:txBody>
      </p:sp>
      <p:sp>
        <p:nvSpPr>
          <p:cNvPr id="3" name="Content Placeholder 2"/>
          <p:cNvSpPr>
            <a:spLocks noGrp="1"/>
          </p:cNvSpPr>
          <p:nvPr>
            <p:ph sz="quarter" idx="13"/>
            <p:custDataLst>
              <p:tags r:id="rId2"/>
            </p:custDataLst>
          </p:nvPr>
        </p:nvSpPr>
        <p:spPr>
          <a:xfrm>
            <a:off x="655638" y="1408114"/>
            <a:ext cx="5092020"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fontAlgn="t">
              <a:spcBef>
                <a:spcPts val="0"/>
              </a:spcBef>
            </a:pPr>
            <a:r>
              <a:rPr lang="en-US" sz="2000" u="none" strike="noStrike" dirty="0">
                <a:effectLst/>
                <a:cs typeface="Segoe UI"/>
              </a:rPr>
              <a:t>Changes the recovery key you specified when installing the on-premises data gateway</a:t>
            </a:r>
            <a:r>
              <a:rPr lang="en-US" sz="2000" dirty="0">
                <a:cs typeface="Segoe UI"/>
              </a:rPr>
              <a:t> </a:t>
            </a:r>
            <a:endParaRPr lang="en-US" dirty="0">
              <a:cs typeface="Segoe UI"/>
            </a:endParaRPr>
          </a:p>
          <a:p>
            <a:pPr marL="310515" indent="-310515">
              <a:spcBef>
                <a:spcPts val="0"/>
              </a:spcBef>
            </a:pPr>
            <a:endParaRPr lang="en-US" sz="2000" dirty="0">
              <a:cs typeface="Segoe UI"/>
            </a:endParaRPr>
          </a:p>
          <a:p>
            <a:pPr marL="310515" indent="-310515">
              <a:spcBef>
                <a:spcPts val="0"/>
              </a:spcBef>
            </a:pPr>
            <a:r>
              <a:rPr lang="en-US" sz="2000" u="none" strike="noStrike" dirty="0">
                <a:effectLst/>
                <a:cs typeface="Segoe UI"/>
              </a:rPr>
              <a:t>This feature does not appear until you have signed in. </a:t>
            </a:r>
            <a:endParaRPr lang="en-US">
              <a:cs typeface="Segoe UI"/>
            </a:endParaRPr>
          </a:p>
          <a:p>
            <a:pPr marL="310515" indent="-310515">
              <a:spcBef>
                <a:spcPts val="0"/>
              </a:spcBef>
            </a:pPr>
            <a:endParaRPr lang="en-US" sz="2000" dirty="0">
              <a:cs typeface="Segoe UI"/>
            </a:endParaRPr>
          </a:p>
          <a:p>
            <a:pPr marL="310515" indent="-310515" algn="l">
              <a:spcBef>
                <a:spcPts val="0"/>
              </a:spcBef>
              <a:spcAft>
                <a:spcPts val="0"/>
              </a:spcAft>
            </a:pPr>
            <a:r>
              <a:rPr lang="en-US" sz="2000" u="none" strike="noStrike" dirty="0">
                <a:effectLst/>
                <a:cs typeface="Segoe UI"/>
              </a:rPr>
              <a:t>Not available in the on-premises data gateway (personal mode</a:t>
            </a:r>
            <a:r>
              <a:rPr lang="en-US" sz="2000" dirty="0">
                <a:cs typeface="Segoe UI"/>
              </a:rPr>
              <a:t>)</a:t>
            </a:r>
            <a:endParaRPr lang="en-US" dirty="0">
              <a:cs typeface="Segoe UI"/>
            </a:endParaRPr>
          </a:p>
          <a:p>
            <a:pPr marL="310515" indent="-310515"/>
            <a:endParaRPr lang="en-US" sz="2000" dirty="0"/>
          </a:p>
          <a:p>
            <a:pPr marL="0" indent="0">
              <a:buNone/>
            </a:pPr>
            <a:endParaRPr lang="en-US" dirty="0"/>
          </a:p>
          <a:p>
            <a:pPr marL="0" indent="0">
              <a:buNone/>
            </a:pPr>
            <a:endParaRPr lang="en-US" dirty="0"/>
          </a:p>
        </p:txBody>
      </p:sp>
      <p:pic>
        <p:nvPicPr>
          <p:cNvPr id="5" name="Picture 4">
            <a:extLst>
              <a:ext uri="{FF2B5EF4-FFF2-40B4-BE49-F238E27FC236}">
                <a16:creationId xmlns:a16="http://schemas.microsoft.com/office/drawing/2014/main" id="{C4D9EBE5-0BD2-4FDF-A8A7-57BAAE433AE6}"/>
              </a:ext>
            </a:extLst>
          </p:cNvPr>
          <p:cNvPicPr>
            <a:picLocks noChangeAspect="1"/>
          </p:cNvPicPr>
          <p:nvPr/>
        </p:nvPicPr>
        <p:blipFill>
          <a:blip r:embed="rId5"/>
          <a:stretch>
            <a:fillRect/>
          </a:stretch>
        </p:blipFill>
        <p:spPr>
          <a:xfrm>
            <a:off x="5861133" y="1408114"/>
            <a:ext cx="6074064" cy="3224148"/>
          </a:xfrm>
          <a:prstGeom prst="rect">
            <a:avLst/>
          </a:prstGeom>
        </p:spPr>
      </p:pic>
      <p:pic>
        <p:nvPicPr>
          <p:cNvPr id="8" name="Picture 7">
            <a:extLst>
              <a:ext uri="{FF2B5EF4-FFF2-40B4-BE49-F238E27FC236}">
                <a16:creationId xmlns:a16="http://schemas.microsoft.com/office/drawing/2014/main" id="{772B8B70-F6A4-47A0-B714-B3CCB762215D}"/>
              </a:ext>
            </a:extLst>
          </p:cNvPr>
          <p:cNvPicPr>
            <a:picLocks noChangeAspect="1"/>
          </p:cNvPicPr>
          <p:nvPr/>
        </p:nvPicPr>
        <p:blipFill>
          <a:blip r:embed="rId6"/>
          <a:stretch>
            <a:fillRect/>
          </a:stretch>
        </p:blipFill>
        <p:spPr>
          <a:xfrm>
            <a:off x="7410056" y="3115359"/>
            <a:ext cx="4525141" cy="3609693"/>
          </a:xfrm>
          <a:prstGeom prst="rect">
            <a:avLst/>
          </a:prstGeom>
        </p:spPr>
      </p:pic>
      <p:sp>
        <p:nvSpPr>
          <p:cNvPr id="4" name="Footer Placeholder 2">
            <a:extLst>
              <a:ext uri="{FF2B5EF4-FFF2-40B4-BE49-F238E27FC236}">
                <a16:creationId xmlns:a16="http://schemas.microsoft.com/office/drawing/2014/main" id="{2FC6AA36-1D91-8CA3-78CA-350AB11FE632}"/>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473672814"/>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p:nvPr>
        </p:nvSpPr>
        <p:spPr/>
        <p:txBody>
          <a:bodyPr/>
          <a:lstStyle/>
          <a:p>
            <a:r>
              <a:rPr lang="en-US"/>
              <a:t>Conditions and terms of use</a:t>
            </a:r>
          </a:p>
        </p:txBody>
      </p:sp>
      <p:sp>
        <p:nvSpPr>
          <p:cNvPr id="7" name="Rectangle 6">
            <a:extLst>
              <a:ext uri="{FF2B5EF4-FFF2-40B4-BE49-F238E27FC236}">
                <a16:creationId xmlns:a16="http://schemas.microsoft.com/office/drawing/2014/main" id="{C30D5E87-BF27-48B8-9B35-B55C04B9CBAE}"/>
              </a:ext>
            </a:extLst>
          </p:cNvPr>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dirty="0">
                <a:solidFill>
                  <a:schemeClr val="tx1"/>
                </a:solidFill>
                <a:cs typeface="Segoe UI Semibold"/>
              </a:rPr>
              <a:t>© Microsoft Corporation. All rights reserved.</a:t>
            </a:r>
            <a:endParaRPr lang="en-US" dirty="0">
              <a:solidFill>
                <a:schemeClr val="tx1"/>
              </a:solidFill>
              <a:cs typeface="Segoe UI Semibold" panose="020B0702040204020203" pitchFamily="34" charset="0"/>
            </a:endParaRPr>
          </a:p>
          <a:p>
            <a:pPr algn="ctr" defTabSz="914102">
              <a:spcBef>
                <a:spcPts val="600"/>
              </a:spcBef>
              <a:spcAft>
                <a:spcPts val="600"/>
              </a:spcAft>
              <a:defRPr/>
            </a:pPr>
            <a:r>
              <a:rPr lang="en-US" dirty="0">
                <a:solidFill>
                  <a:schemeClr val="tx1"/>
                </a:solidFill>
                <a:cs typeface="Segoe UI Semibold"/>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endParaRPr lang="en-US" b="0" i="0" u="none" strike="noStrike" kern="1200" cap="none" spc="0" normalizeH="0" baseline="30000" noProof="0" dirty="0">
              <a:ln>
                <a:noFill/>
              </a:ln>
              <a:solidFill>
                <a:schemeClr val="tx1"/>
              </a:solidFill>
              <a:effectLst/>
              <a:uLnTx/>
              <a:uFillTx/>
              <a:cs typeface="Segoe UI Semibold"/>
            </a:endParaRPr>
          </a:p>
        </p:txBody>
      </p:sp>
      <p:grpSp>
        <p:nvGrpSpPr>
          <p:cNvPr id="8" name="Group 7">
            <a:extLst>
              <a:ext uri="{FF2B5EF4-FFF2-40B4-BE49-F238E27FC236}">
                <a16:creationId xmlns:a16="http://schemas.microsoft.com/office/drawing/2014/main" id="{DE823F62-E09A-466D-A142-2BCF56FBE584}"/>
              </a:ext>
              <a:ext uri="{C183D7F6-B498-43B3-948B-1728B52AA6E4}">
                <adec:decorative xmlns:adec="http://schemas.microsoft.com/office/drawing/2017/decorative" val="1"/>
              </a:ext>
            </a:extLst>
          </p:cNvPr>
          <p:cNvGrpSpPr/>
          <p:nvPr/>
        </p:nvGrpSpPr>
        <p:grpSpPr>
          <a:xfrm>
            <a:off x="571500" y="1574244"/>
            <a:ext cx="11049000" cy="3632756"/>
            <a:chOff x="571500" y="1574244"/>
            <a:chExt cx="11049000" cy="3632756"/>
          </a:xfrm>
        </p:grpSpPr>
        <p:sp>
          <p:nvSpPr>
            <p:cNvPr id="9" name="Half Frame 8">
              <a:extLst>
                <a:ext uri="{FF2B5EF4-FFF2-40B4-BE49-F238E27FC236}">
                  <a16:creationId xmlns:a16="http://schemas.microsoft.com/office/drawing/2014/main" id="{B1F83F9C-3EE7-440E-B6ED-3AE225C18EC6}"/>
                </a:ext>
                <a:ext uri="{C183D7F6-B498-43B3-948B-1728B52AA6E4}">
                  <adec:decorative xmlns:adec="http://schemas.microsoft.com/office/drawing/2017/decorative" val="1"/>
                </a:ext>
              </a:extLst>
            </p:cNvPr>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Half Frame 9">
              <a:extLst>
                <a:ext uri="{FF2B5EF4-FFF2-40B4-BE49-F238E27FC236}">
                  <a16:creationId xmlns:a16="http://schemas.microsoft.com/office/drawing/2014/main" id="{206932E9-4F7D-4000-972A-77B375DA6D88}"/>
                </a:ext>
                <a:ext uri="{C183D7F6-B498-43B3-948B-1728B52AA6E4}">
                  <adec:decorative xmlns:adec="http://schemas.microsoft.com/office/drawing/2017/decorative" val="1"/>
                </a:ext>
              </a:extLst>
            </p:cNvPr>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9" name="Footer Placeholder 2">
            <a:extLst>
              <a:ext uri="{FF2B5EF4-FFF2-40B4-BE49-F238E27FC236}">
                <a16:creationId xmlns:a16="http://schemas.microsoft.com/office/drawing/2014/main" id="{A04B054A-A721-4144-96FE-966534FB355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UI"/>
              </a:rPr>
              <a:t>Microsoft Confidential</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Slide Number Placeholder 12">
            <a:extLst>
              <a:ext uri="{FF2B5EF4-FFF2-40B4-BE49-F238E27FC236}">
                <a16:creationId xmlns:a16="http://schemas.microsoft.com/office/drawing/2014/main" id="{C94FEEB5-7104-458C-8C7F-BD5D4C6A13B9}"/>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70520184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9996714" cy="830997"/>
          </a:xfrm>
        </p:spPr>
        <p:txBody>
          <a:bodyPr/>
          <a:lstStyle/>
          <a:p>
            <a:pPr>
              <a:lnSpc>
                <a:spcPct val="100000"/>
              </a:lnSpc>
            </a:pPr>
            <a:r>
              <a:rPr lang="en-US" sz="5400" dirty="0"/>
              <a:t>Managing Data Gateway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28874915"/>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anage Data Gateways in Power Platform Admin Center</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6170463"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r>
              <a:rPr lang="en-US" dirty="0">
                <a:cs typeface="Segoe UI"/>
              </a:rPr>
              <a:t>Users having Global, Power Platform or Power BI Administrator role, or are Gateway administrators have access to data gateway management on the Power Platform admin center. However, there might be differences in the features available and the operations that can be performed by each of these roles.</a:t>
            </a:r>
            <a:endParaRPr lang="en-US" dirty="0"/>
          </a:p>
          <a:p>
            <a:pPr marL="310515" indent="-310515"/>
            <a:r>
              <a:rPr lang="en-US" dirty="0">
                <a:cs typeface="Segoe UI"/>
              </a:rPr>
              <a:t>Global, Power Platform, and Power BI Administrators can use the Tenant administration setting to control the list of gateways exposed.</a:t>
            </a:r>
          </a:p>
          <a:p>
            <a:pPr marL="310515" indent="-310515"/>
            <a:endParaRPr lang="en-US" dirty="0"/>
          </a:p>
        </p:txBody>
      </p:sp>
      <p:pic>
        <p:nvPicPr>
          <p:cNvPr id="5" name="Picture 4">
            <a:extLst>
              <a:ext uri="{FF2B5EF4-FFF2-40B4-BE49-F238E27FC236}">
                <a16:creationId xmlns:a16="http://schemas.microsoft.com/office/drawing/2014/main" id="{873191B0-6B81-414A-965A-4C00D98084AE}"/>
              </a:ext>
            </a:extLst>
          </p:cNvPr>
          <p:cNvPicPr>
            <a:picLocks noChangeAspect="1"/>
          </p:cNvPicPr>
          <p:nvPr/>
        </p:nvPicPr>
        <p:blipFill>
          <a:blip r:embed="rId5"/>
          <a:stretch>
            <a:fillRect/>
          </a:stretch>
        </p:blipFill>
        <p:spPr>
          <a:xfrm>
            <a:off x="7041546" y="1407390"/>
            <a:ext cx="4983877" cy="3113828"/>
          </a:xfrm>
          <a:prstGeom prst="rect">
            <a:avLst/>
          </a:prstGeom>
        </p:spPr>
      </p:pic>
      <p:sp>
        <p:nvSpPr>
          <p:cNvPr id="4" name="Footer Placeholder 2">
            <a:extLst>
              <a:ext uri="{FF2B5EF4-FFF2-40B4-BE49-F238E27FC236}">
                <a16:creationId xmlns:a16="http://schemas.microsoft.com/office/drawing/2014/main" id="{5C4A57F3-5C7F-3E9F-3088-148ABE4EF671}"/>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385431110"/>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anage Data Gateways in Power Platform Admin Center</a:t>
            </a:r>
          </a:p>
        </p:txBody>
      </p:sp>
      <p:sp>
        <p:nvSpPr>
          <p:cNvPr id="2" name="Text Placeholder 1">
            <a:extLst>
              <a:ext uri="{FF2B5EF4-FFF2-40B4-BE49-F238E27FC236}">
                <a16:creationId xmlns:a16="http://schemas.microsoft.com/office/drawing/2014/main" id="{E0DCCC6D-05C4-4092-8C9D-AA0D46C1A281}"/>
              </a:ext>
            </a:extLst>
          </p:cNvPr>
          <p:cNvSpPr>
            <a:spLocks noGrp="1"/>
          </p:cNvSpPr>
          <p:nvPr>
            <p:ph sz="quarter" idx="13"/>
            <p:custDataLst>
              <p:tags r:id="rId2"/>
            </p:custDataLst>
          </p:nvPr>
        </p:nvSpPr>
        <p:spPr>
          <a:xfrm>
            <a:off x="655638" y="1408114"/>
            <a:ext cx="11018911" cy="1164965"/>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dirty="0">
                <a:cs typeface="Segoe UI"/>
              </a:rPr>
              <a:t>All data</a:t>
            </a:r>
            <a:r>
              <a:rPr lang="en-US" sz="2400" dirty="0">
                <a:cs typeface="Segoe UI"/>
              </a:rPr>
              <a:t> page lists </a:t>
            </a:r>
            <a:r>
              <a:rPr lang="en-US" dirty="0">
                <a:cs typeface="Segoe UI"/>
              </a:rPr>
              <a:t>with on-premises</a:t>
            </a:r>
            <a:r>
              <a:rPr lang="en-US" sz="2400" dirty="0">
                <a:cs typeface="Segoe UI"/>
              </a:rPr>
              <a:t> data gateway clusters installed contains following information about gateway clusters:</a:t>
            </a:r>
          </a:p>
          <a:p>
            <a:pPr marL="310515" indent="-310515"/>
            <a:endParaRPr lang="en-US" dirty="0"/>
          </a:p>
        </p:txBody>
      </p:sp>
      <p:pic>
        <p:nvPicPr>
          <p:cNvPr id="4" name="Picture 3">
            <a:extLst>
              <a:ext uri="{FF2B5EF4-FFF2-40B4-BE49-F238E27FC236}">
                <a16:creationId xmlns:a16="http://schemas.microsoft.com/office/drawing/2014/main" id="{892FCE49-FC9A-42A6-9A86-6C7948D664BD}"/>
              </a:ext>
            </a:extLst>
          </p:cNvPr>
          <p:cNvPicPr>
            <a:picLocks noChangeAspect="1"/>
          </p:cNvPicPr>
          <p:nvPr/>
        </p:nvPicPr>
        <p:blipFill>
          <a:blip r:embed="rId5"/>
          <a:stretch>
            <a:fillRect/>
          </a:stretch>
        </p:blipFill>
        <p:spPr>
          <a:xfrm>
            <a:off x="5984137" y="2302816"/>
            <a:ext cx="6207863" cy="2407407"/>
          </a:xfrm>
          <a:prstGeom prst="rect">
            <a:avLst/>
          </a:prstGeom>
        </p:spPr>
      </p:pic>
      <p:sp>
        <p:nvSpPr>
          <p:cNvPr id="9" name="TextBox 8">
            <a:extLst>
              <a:ext uri="{FF2B5EF4-FFF2-40B4-BE49-F238E27FC236}">
                <a16:creationId xmlns:a16="http://schemas.microsoft.com/office/drawing/2014/main" id="{C0A47C0B-6462-4AB4-98B4-59786C499D03}"/>
              </a:ext>
            </a:extLst>
          </p:cNvPr>
          <p:cNvSpPr txBox="1"/>
          <p:nvPr/>
        </p:nvSpPr>
        <p:spPr>
          <a:xfrm>
            <a:off x="517450" y="2302816"/>
            <a:ext cx="5468679" cy="3170099"/>
          </a:xfrm>
          <a:prstGeom prst="rect">
            <a:avLst/>
          </a:prstGeom>
          <a:noFill/>
        </p:spPr>
        <p:txBody>
          <a:bodyPr wrap="square" lIns="91440" tIns="45720" rIns="91440" bIns="45720" anchor="t">
            <a:spAutoFit/>
          </a:bodyPr>
          <a:lstStyle/>
          <a:p>
            <a:pPr marL="571500" lvl="2" indent="-342900">
              <a:spcBef>
                <a:spcPts val="600"/>
              </a:spcBef>
              <a:spcAft>
                <a:spcPts val="600"/>
              </a:spcAft>
              <a:buFont typeface="Arial" panose="020B0604020202020204" pitchFamily="34" charset="0"/>
              <a:buChar char="•"/>
            </a:pPr>
            <a:r>
              <a:rPr lang="en-US" sz="2000" dirty="0"/>
              <a:t>Name of the gateway cluster</a:t>
            </a:r>
            <a:endParaRPr lang="en-US" sz="2000" dirty="0">
              <a:cs typeface="Segoe UI"/>
            </a:endParaRPr>
          </a:p>
          <a:p>
            <a:pPr marL="571500" lvl="2" indent="-342900">
              <a:spcBef>
                <a:spcPts val="600"/>
              </a:spcBef>
              <a:spcAft>
                <a:spcPts val="600"/>
              </a:spcAft>
              <a:buFont typeface="Arial" panose="020B0604020202020204" pitchFamily="34" charset="0"/>
              <a:buChar char="•"/>
            </a:pPr>
            <a:r>
              <a:rPr lang="en-US" sz="2000" dirty="0"/>
              <a:t>Admin contact information for the gateway cluster</a:t>
            </a:r>
            <a:endParaRPr lang="en-US" sz="2000" dirty="0">
              <a:cs typeface="Segoe UI"/>
            </a:endParaRPr>
          </a:p>
          <a:p>
            <a:pPr marL="571500" lvl="2" indent="-342900">
              <a:spcBef>
                <a:spcPts val="600"/>
              </a:spcBef>
              <a:spcAft>
                <a:spcPts val="600"/>
              </a:spcAft>
              <a:buFont typeface="Arial" panose="020B0604020202020204" pitchFamily="34" charset="0"/>
              <a:buChar char="•"/>
            </a:pPr>
            <a:r>
              <a:rPr lang="en-US" sz="2000" dirty="0"/>
              <a:t>The list of gateway users</a:t>
            </a:r>
            <a:endParaRPr lang="en-US" sz="2000" dirty="0">
              <a:cs typeface="Segoe UI"/>
            </a:endParaRPr>
          </a:p>
          <a:p>
            <a:pPr marL="571500" lvl="2" indent="-342900">
              <a:spcBef>
                <a:spcPts val="600"/>
              </a:spcBef>
              <a:spcAft>
                <a:spcPts val="600"/>
              </a:spcAft>
              <a:buFont typeface="Arial" panose="020B0604020202020204" pitchFamily="34" charset="0"/>
              <a:buChar char="•"/>
            </a:pPr>
            <a:r>
              <a:rPr lang="en-US" sz="2000" dirty="0"/>
              <a:t>See whether the gateway connection is online or offline</a:t>
            </a:r>
            <a:endParaRPr lang="en-US" sz="2000" dirty="0">
              <a:cs typeface="Segoe UI"/>
            </a:endParaRPr>
          </a:p>
          <a:p>
            <a:pPr marL="571500" lvl="2" indent="-342900">
              <a:spcBef>
                <a:spcPts val="600"/>
              </a:spcBef>
              <a:spcAft>
                <a:spcPts val="600"/>
              </a:spcAft>
              <a:buFont typeface="Arial" panose="020B0604020202020204" pitchFamily="34" charset="0"/>
              <a:buChar char="•"/>
            </a:pPr>
            <a:r>
              <a:rPr lang="en-US" sz="2000" dirty="0"/>
              <a:t>Number of gateway members in the gateway cluster</a:t>
            </a:r>
            <a:endParaRPr lang="en-US" sz="2000" dirty="0">
              <a:cs typeface="Segoe UI"/>
            </a:endParaRPr>
          </a:p>
        </p:txBody>
      </p:sp>
      <p:sp>
        <p:nvSpPr>
          <p:cNvPr id="5" name="Footer Placeholder 2">
            <a:extLst>
              <a:ext uri="{FF2B5EF4-FFF2-40B4-BE49-F238E27FC236}">
                <a16:creationId xmlns:a16="http://schemas.microsoft.com/office/drawing/2014/main" id="{7F27F1EC-1855-C9F3-CCD0-5D9AE323FB5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02568782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animEffect transition="in" filter="fade">
                                      <p:cBhvr>
                                        <p:cTn id="17" dur="500"/>
                                        <p:tgtEl>
                                          <p:spTgt spid="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2" end="2"/>
                                            </p:txEl>
                                          </p:spTgt>
                                        </p:tgtEl>
                                        <p:attrNameLst>
                                          <p:attrName>style.visibility</p:attrName>
                                        </p:attrNameLst>
                                      </p:cBhvr>
                                      <p:to>
                                        <p:strVal val="visible"/>
                                      </p:to>
                                    </p:set>
                                    <p:animEffect transition="in" filter="fade">
                                      <p:cBhvr>
                                        <p:cTn id="22" dur="500"/>
                                        <p:tgtEl>
                                          <p:spTgt spid="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fade">
                                      <p:cBhvr>
                                        <p:cTn id="27" dur="500"/>
                                        <p:tgtEl>
                                          <p:spTgt spid="9">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xEl>
                                              <p:pRg st="4" end="4"/>
                                            </p:txEl>
                                          </p:spTgt>
                                        </p:tgtEl>
                                        <p:attrNameLst>
                                          <p:attrName>style.visibility</p:attrName>
                                        </p:attrNameLst>
                                      </p:cBhvr>
                                      <p:to>
                                        <p:strVal val="visible"/>
                                      </p:to>
                                    </p:set>
                                    <p:animEffect transition="in" filter="fade">
                                      <p:cBhvr>
                                        <p:cTn id="32" dur="500"/>
                                        <p:tgtEl>
                                          <p:spTgt spid="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anage Data Gateway Users</a:t>
            </a:r>
          </a:p>
        </p:txBody>
      </p:sp>
      <p:sp>
        <p:nvSpPr>
          <p:cNvPr id="10" name="TextBox 9">
            <a:extLst>
              <a:ext uri="{FF2B5EF4-FFF2-40B4-BE49-F238E27FC236}">
                <a16:creationId xmlns:a16="http://schemas.microsoft.com/office/drawing/2014/main" id="{E4F20610-6F36-4C62-BD30-C7AD324DC0BE}"/>
              </a:ext>
            </a:extLst>
          </p:cNvPr>
          <p:cNvSpPr txBox="1"/>
          <p:nvPr/>
        </p:nvSpPr>
        <p:spPr>
          <a:xfrm>
            <a:off x="619864" y="1319193"/>
            <a:ext cx="11100430" cy="4524315"/>
          </a:xfrm>
          <a:prstGeom prst="rect">
            <a:avLst/>
          </a:prstGeom>
          <a:noFill/>
        </p:spPr>
        <p:txBody>
          <a:bodyPr wrap="square" lIns="91440" tIns="45720" rIns="91440" bIns="45720" anchor="t">
            <a:spAutoFit/>
          </a:bodyPr>
          <a:lstStyle/>
          <a:p>
            <a:pPr>
              <a:spcBef>
                <a:spcPts val="1200"/>
              </a:spcBef>
              <a:spcAft>
                <a:spcPts val="600"/>
              </a:spcAft>
            </a:pPr>
            <a:r>
              <a:rPr lang="en-US" sz="2400" dirty="0"/>
              <a:t>Every installed Data Gateway has a default admin user account which is the account that created it and who can grant certain permissions to other users to use this data gateway.</a:t>
            </a:r>
          </a:p>
          <a:p>
            <a:pPr>
              <a:lnSpc>
                <a:spcPct val="100000"/>
              </a:lnSpc>
              <a:spcBef>
                <a:spcPts val="1200"/>
              </a:spcBef>
              <a:spcAft>
                <a:spcPts val="600"/>
              </a:spcAft>
            </a:pPr>
            <a:r>
              <a:rPr lang="en-US" sz="2400" dirty="0"/>
              <a:t>For </a:t>
            </a:r>
            <a:r>
              <a:rPr lang="en-US" sz="2400" b="1" u="sng" dirty="0"/>
              <a:t>personal</a:t>
            </a:r>
            <a:r>
              <a:rPr lang="en-US" sz="2400" dirty="0"/>
              <a:t> gateways, this would show the owner of the personal gateway and cannot be changed due to the security scope of personal gateways.</a:t>
            </a:r>
          </a:p>
          <a:p>
            <a:pPr>
              <a:lnSpc>
                <a:spcPct val="100000"/>
              </a:lnSpc>
              <a:spcBef>
                <a:spcPts val="1200"/>
              </a:spcBef>
              <a:spcAft>
                <a:spcPts val="600"/>
              </a:spcAft>
            </a:pPr>
            <a:r>
              <a:rPr lang="en-US" sz="2400" dirty="0"/>
              <a:t>For Data Gateway in </a:t>
            </a:r>
            <a:r>
              <a:rPr lang="en-US" sz="2400" b="1" u="sng" dirty="0"/>
              <a:t>standard mode</a:t>
            </a:r>
            <a:r>
              <a:rPr lang="en-US" sz="2400" dirty="0"/>
              <a:t>, users can be added in any of these three categories (explained in more detail in next slide):</a:t>
            </a:r>
          </a:p>
          <a:p>
            <a:pPr marL="571500" lvl="2" indent="-342900">
              <a:spcBef>
                <a:spcPts val="600"/>
              </a:spcBef>
              <a:spcAft>
                <a:spcPts val="600"/>
              </a:spcAft>
              <a:buFont typeface="Arial" panose="020B0604020202020204" pitchFamily="34" charset="0"/>
              <a:buChar char="•"/>
            </a:pPr>
            <a:r>
              <a:rPr lang="en-US" sz="2000" dirty="0">
                <a:solidFill>
                  <a:schemeClr val="accent5"/>
                </a:solidFill>
              </a:rPr>
              <a:t>Connection Creator</a:t>
            </a:r>
          </a:p>
          <a:p>
            <a:pPr marL="571500" lvl="2" indent="-342900">
              <a:spcBef>
                <a:spcPts val="600"/>
              </a:spcBef>
              <a:spcAft>
                <a:spcPts val="600"/>
              </a:spcAft>
              <a:buFont typeface="Arial" panose="020B0604020202020204" pitchFamily="34" charset="0"/>
              <a:buChar char="•"/>
            </a:pPr>
            <a:r>
              <a:rPr lang="en-US" sz="2000" dirty="0">
                <a:solidFill>
                  <a:schemeClr val="accent5"/>
                </a:solidFill>
              </a:rPr>
              <a:t>Connection Creator with resharing</a:t>
            </a:r>
          </a:p>
          <a:p>
            <a:pPr marL="571500" lvl="2" indent="-342900">
              <a:spcBef>
                <a:spcPts val="600"/>
              </a:spcBef>
              <a:spcAft>
                <a:spcPts val="600"/>
              </a:spcAft>
              <a:buFont typeface="Arial" panose="020B0604020202020204" pitchFamily="34" charset="0"/>
              <a:buChar char="•"/>
            </a:pPr>
            <a:r>
              <a:rPr lang="en-US" sz="2000" dirty="0">
                <a:solidFill>
                  <a:schemeClr val="accent5"/>
                </a:solidFill>
              </a:rPr>
              <a:t>Admin</a:t>
            </a:r>
          </a:p>
        </p:txBody>
      </p:sp>
      <p:sp>
        <p:nvSpPr>
          <p:cNvPr id="2" name="Footer Placeholder 2">
            <a:extLst>
              <a:ext uri="{FF2B5EF4-FFF2-40B4-BE49-F238E27FC236}">
                <a16:creationId xmlns:a16="http://schemas.microsoft.com/office/drawing/2014/main" id="{4B31DFE6-19CF-F150-374C-A8D6E82CEB0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09655305"/>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anage Data Gateway Users</a:t>
            </a:r>
          </a:p>
        </p:txBody>
      </p:sp>
      <p:sp>
        <p:nvSpPr>
          <p:cNvPr id="10" name="TextBox 9">
            <a:extLst>
              <a:ext uri="{FF2B5EF4-FFF2-40B4-BE49-F238E27FC236}">
                <a16:creationId xmlns:a16="http://schemas.microsoft.com/office/drawing/2014/main" id="{E4F20610-6F36-4C62-BD30-C7AD324DC0BE}"/>
              </a:ext>
            </a:extLst>
          </p:cNvPr>
          <p:cNvSpPr txBox="1"/>
          <p:nvPr/>
        </p:nvSpPr>
        <p:spPr>
          <a:xfrm>
            <a:off x="392227" y="868836"/>
            <a:ext cx="5741583" cy="3939540"/>
          </a:xfrm>
          <a:prstGeom prst="rect">
            <a:avLst/>
          </a:prstGeom>
          <a:noFill/>
        </p:spPr>
        <p:txBody>
          <a:bodyPr wrap="square" lIns="91440" tIns="45720" rIns="91440" bIns="45720" anchor="t">
            <a:spAutoFit/>
          </a:bodyPr>
          <a:lstStyle/>
          <a:p>
            <a:pPr marL="342900" indent="-342900">
              <a:spcBef>
                <a:spcPts val="600"/>
              </a:spcBef>
              <a:spcAft>
                <a:spcPts val="600"/>
              </a:spcAft>
              <a:buFont typeface="Arial"/>
              <a:buChar char="•"/>
            </a:pPr>
            <a:r>
              <a:rPr lang="en-US" sz="2000" b="1" dirty="0"/>
              <a:t>Connection Creator - </a:t>
            </a:r>
            <a:r>
              <a:rPr lang="en-US" sz="2000" dirty="0"/>
              <a:t>Can create connections on the gateway to create for Apps and Flows but cannot share the gateway </a:t>
            </a:r>
            <a:endParaRPr lang="en-US" dirty="0">
              <a:cs typeface="Segoe UI"/>
            </a:endParaRPr>
          </a:p>
          <a:p>
            <a:pPr marL="800100" lvl="1" indent="-342900">
              <a:spcBef>
                <a:spcPts val="600"/>
              </a:spcBef>
              <a:spcAft>
                <a:spcPts val="600"/>
              </a:spcAft>
              <a:buFont typeface="Arial"/>
              <a:buChar char="•"/>
            </a:pPr>
            <a:r>
              <a:rPr lang="en-US" sz="2000" dirty="0"/>
              <a:t>Applies only to Power Apps and Power Automate</a:t>
            </a:r>
            <a:endParaRPr lang="en-US" dirty="0">
              <a:cs typeface="Segoe UI"/>
            </a:endParaRPr>
          </a:p>
          <a:p>
            <a:pPr marL="342900" indent="-342900">
              <a:lnSpc>
                <a:spcPct val="100000"/>
              </a:lnSpc>
              <a:spcBef>
                <a:spcPts val="600"/>
              </a:spcBef>
              <a:spcAft>
                <a:spcPts val="600"/>
              </a:spcAft>
              <a:buFont typeface="Arial"/>
              <a:buChar char="•"/>
            </a:pPr>
            <a:r>
              <a:rPr lang="en-US" sz="2000" b="1" dirty="0"/>
              <a:t>Connection Creator with resharing – </a:t>
            </a:r>
            <a:r>
              <a:rPr lang="en-US" sz="2000" dirty="0"/>
              <a:t>Same as </a:t>
            </a:r>
            <a:r>
              <a:rPr lang="en-US" sz="2000" b="1" dirty="0"/>
              <a:t>Connection Creator </a:t>
            </a:r>
            <a:r>
              <a:rPr lang="en-US" sz="2000" dirty="0"/>
              <a:t>but can also share the gateway for others to use</a:t>
            </a:r>
            <a:endParaRPr lang="en-US" sz="2000" dirty="0">
              <a:cs typeface="Segoe UI"/>
            </a:endParaRPr>
          </a:p>
          <a:p>
            <a:pPr marL="342900" indent="-342900">
              <a:lnSpc>
                <a:spcPct val="100000"/>
              </a:lnSpc>
              <a:spcBef>
                <a:spcPts val="600"/>
              </a:spcBef>
              <a:spcAft>
                <a:spcPts val="600"/>
              </a:spcAft>
              <a:buFont typeface="Arial"/>
              <a:buChar char="•"/>
            </a:pPr>
            <a:r>
              <a:rPr lang="en-US" sz="2000" b="1" dirty="0"/>
              <a:t>Admin</a:t>
            </a:r>
            <a:r>
              <a:rPr lang="en-US" sz="2000" dirty="0"/>
              <a:t> - Can manage gateway users, configuration, associated data sources, and connections</a:t>
            </a:r>
            <a:endParaRPr lang="en-US" sz="2000" dirty="0">
              <a:cs typeface="Segoe UI"/>
            </a:endParaRPr>
          </a:p>
        </p:txBody>
      </p:sp>
      <p:sp>
        <p:nvSpPr>
          <p:cNvPr id="6" name="Text Placeholder 2">
            <a:extLst>
              <a:ext uri="{FF2B5EF4-FFF2-40B4-BE49-F238E27FC236}">
                <a16:creationId xmlns:a16="http://schemas.microsoft.com/office/drawing/2014/main" id="{64D8016B-0466-4D1D-B4A8-DF3BD79AB8A6}"/>
              </a:ext>
            </a:extLst>
          </p:cNvPr>
          <p:cNvSpPr txBox="1">
            <a:spLocks/>
          </p:cNvSpPr>
          <p:nvPr/>
        </p:nvSpPr>
        <p:spPr>
          <a:xfrm>
            <a:off x="392227" y="4808376"/>
            <a:ext cx="11661548" cy="172354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36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spcAft>
                <a:spcPts val="600"/>
              </a:spcAft>
            </a:pPr>
            <a:r>
              <a:rPr lang="en-US" sz="1400" b="1" dirty="0">
                <a:latin typeface="+mn-lt"/>
              </a:rPr>
              <a:t>NOTE: </a:t>
            </a:r>
          </a:p>
          <a:p>
            <a:pPr>
              <a:lnSpc>
                <a:spcPct val="100000"/>
              </a:lnSpc>
              <a:spcBef>
                <a:spcPts val="600"/>
              </a:spcBef>
              <a:spcAft>
                <a:spcPts val="600"/>
              </a:spcAft>
            </a:pPr>
            <a:r>
              <a:rPr lang="en-US" sz="1400" b="1" dirty="0">
                <a:latin typeface="+mn-lt"/>
              </a:rPr>
              <a:t>Connection Creator </a:t>
            </a:r>
            <a:r>
              <a:rPr lang="en-US" sz="1400" dirty="0">
                <a:latin typeface="+mn-lt"/>
              </a:rPr>
              <a:t>and </a:t>
            </a:r>
            <a:r>
              <a:rPr lang="en-US" sz="1400" b="1" dirty="0">
                <a:latin typeface="+mn-lt"/>
              </a:rPr>
              <a:t>Connection Creator with resharing </a:t>
            </a:r>
            <a:r>
              <a:rPr lang="en-US" sz="1400" dirty="0">
                <a:latin typeface="+mn-lt"/>
              </a:rPr>
              <a:t>do not apply to </a:t>
            </a:r>
            <a:r>
              <a:rPr lang="en-US" sz="1400" u="sng" dirty="0">
                <a:latin typeface="+mn-lt"/>
              </a:rPr>
              <a:t>custom connectors</a:t>
            </a:r>
            <a:r>
              <a:rPr lang="en-US" sz="1400" dirty="0">
                <a:latin typeface="+mn-lt"/>
              </a:rPr>
              <a:t> in Power Apps and Power Automate.</a:t>
            </a:r>
          </a:p>
          <a:p>
            <a:pPr>
              <a:lnSpc>
                <a:spcPct val="100000"/>
              </a:lnSpc>
              <a:spcBef>
                <a:spcPts val="600"/>
              </a:spcBef>
              <a:spcAft>
                <a:spcPts val="600"/>
              </a:spcAft>
            </a:pPr>
            <a:r>
              <a:rPr lang="en-US" sz="1400" dirty="0">
                <a:latin typeface="+mn-lt"/>
              </a:rPr>
              <a:t>While sharing gateways for </a:t>
            </a:r>
            <a:r>
              <a:rPr lang="en-US" sz="1400" b="1" dirty="0">
                <a:latin typeface="+mn-lt"/>
              </a:rPr>
              <a:t>Connection Creators </a:t>
            </a:r>
            <a:r>
              <a:rPr lang="en-US" sz="1400" dirty="0">
                <a:latin typeface="+mn-lt"/>
              </a:rPr>
              <a:t>and </a:t>
            </a:r>
            <a:r>
              <a:rPr lang="en-US" sz="1400" b="1" dirty="0">
                <a:latin typeface="+mn-lt"/>
              </a:rPr>
              <a:t>Connection creators with resharing </a:t>
            </a:r>
            <a:r>
              <a:rPr lang="en-US" sz="1400" dirty="0">
                <a:latin typeface="+mn-lt"/>
              </a:rPr>
              <a:t>permission levels, you can restrict the data source type that the user can connect over the gateway. </a:t>
            </a:r>
          </a:p>
          <a:p>
            <a:pPr>
              <a:lnSpc>
                <a:spcPct val="100000"/>
              </a:lnSpc>
              <a:spcBef>
                <a:spcPts val="600"/>
              </a:spcBef>
              <a:spcAft>
                <a:spcPts val="600"/>
              </a:spcAft>
            </a:pPr>
            <a:r>
              <a:rPr lang="en-US" sz="1400" dirty="0">
                <a:latin typeface="+mn-lt"/>
              </a:rPr>
              <a:t>At least one data source type should be selected for the user to be successfully added.</a:t>
            </a:r>
          </a:p>
        </p:txBody>
      </p:sp>
      <p:pic>
        <p:nvPicPr>
          <p:cNvPr id="5" name="Picture 4">
            <a:extLst>
              <a:ext uri="{FF2B5EF4-FFF2-40B4-BE49-F238E27FC236}">
                <a16:creationId xmlns:a16="http://schemas.microsoft.com/office/drawing/2014/main" id="{2B69F39D-5775-8076-98AC-AA6681FC4128}"/>
              </a:ext>
            </a:extLst>
          </p:cNvPr>
          <p:cNvPicPr>
            <a:picLocks noChangeAspect="1"/>
          </p:cNvPicPr>
          <p:nvPr/>
        </p:nvPicPr>
        <p:blipFill>
          <a:blip r:embed="rId4"/>
          <a:stretch>
            <a:fillRect/>
          </a:stretch>
        </p:blipFill>
        <p:spPr>
          <a:xfrm>
            <a:off x="6160314" y="1125239"/>
            <a:ext cx="5919965" cy="3533197"/>
          </a:xfrm>
          <a:prstGeom prst="rect">
            <a:avLst/>
          </a:prstGeom>
        </p:spPr>
      </p:pic>
    </p:spTree>
    <p:custDataLst>
      <p:tags r:id="rId1"/>
    </p:custDataLst>
    <p:extLst>
      <p:ext uri="{BB962C8B-B14F-4D97-AF65-F5344CB8AC3E}">
        <p14:creationId xmlns:p14="http://schemas.microsoft.com/office/powerpoint/2010/main" val="165986971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
                                            <p:txEl>
                                              <p:pRg st="3" end="3"/>
                                            </p:txEl>
                                          </p:spTgt>
                                        </p:tgtEl>
                                        <p:attrNameLst>
                                          <p:attrName>style.visibility</p:attrName>
                                        </p:attrNameLst>
                                      </p:cBhvr>
                                      <p:to>
                                        <p:strVal val="visible"/>
                                      </p:to>
                                    </p:set>
                                    <p:animEffect transition="in" filter="fade">
                                      <p:cBhvr>
                                        <p:cTn id="20" dur="500"/>
                                        <p:tgtEl>
                                          <p:spTgt spid="10">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anage gateway installers</a:t>
            </a: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8605320" cy="3170099"/>
          </a:xfrm>
          <a:prstGeom prst="rect">
            <a:avLst/>
          </a:prstGeom>
          <a:noFill/>
        </p:spPr>
        <p:txBody>
          <a:bodyPr wrap="square" lIns="91440" tIns="45720" rIns="91440" bIns="45720" anchor="t">
            <a:spAutoFit/>
          </a:bodyPr>
          <a:lstStyle/>
          <a:p>
            <a:pPr marL="342900" indent="-342900">
              <a:spcBef>
                <a:spcPts val="600"/>
              </a:spcBef>
              <a:spcAft>
                <a:spcPts val="600"/>
              </a:spcAft>
              <a:buFont typeface="Arial" panose="020B0604020202020204" pitchFamily="34" charset="0"/>
              <a:buChar char="•"/>
            </a:pPr>
            <a:r>
              <a:rPr lang="en-US" sz="2000" dirty="0"/>
              <a:t>Global, Power Platform, and Power BI Administrators can manage who can install the on-premises data gateway in your enterprise. </a:t>
            </a:r>
          </a:p>
          <a:p>
            <a:pPr marL="342900" indent="-342900">
              <a:lnSpc>
                <a:spcPct val="100000"/>
              </a:lnSpc>
              <a:spcBef>
                <a:spcPts val="600"/>
              </a:spcBef>
              <a:spcAft>
                <a:spcPts val="600"/>
              </a:spcAft>
              <a:buFont typeface="Arial" panose="020B0604020202020204" pitchFamily="34" charset="0"/>
              <a:buChar char="•"/>
            </a:pPr>
            <a:r>
              <a:rPr lang="en-US" sz="2000" dirty="0"/>
              <a:t>This operation isn't available for gateway admins.</a:t>
            </a:r>
          </a:p>
          <a:p>
            <a:pPr marL="342900" indent="-342900">
              <a:lnSpc>
                <a:spcPct val="100000"/>
              </a:lnSpc>
              <a:spcBef>
                <a:spcPts val="600"/>
              </a:spcBef>
              <a:spcAft>
                <a:spcPts val="600"/>
              </a:spcAft>
              <a:buFont typeface="Arial" panose="020B0604020202020204" pitchFamily="34" charset="0"/>
              <a:buChar char="•"/>
            </a:pPr>
            <a:r>
              <a:rPr lang="en-US" sz="2000" dirty="0"/>
              <a:t>This feature </a:t>
            </a:r>
            <a:r>
              <a:rPr lang="en-US" sz="2000" u="sng" dirty="0"/>
              <a:t>does not apply </a:t>
            </a:r>
            <a:r>
              <a:rPr lang="en-US" sz="2000" dirty="0"/>
              <a:t>to personal data gateways.</a:t>
            </a:r>
          </a:p>
          <a:p>
            <a:pPr marL="342900" indent="-342900">
              <a:lnSpc>
                <a:spcPct val="100000"/>
              </a:lnSpc>
              <a:spcBef>
                <a:spcPts val="600"/>
              </a:spcBef>
              <a:spcAft>
                <a:spcPts val="600"/>
              </a:spcAft>
              <a:buFont typeface="Arial" panose="020B0604020202020204" pitchFamily="34" charset="0"/>
              <a:buChar char="•"/>
            </a:pPr>
            <a:r>
              <a:rPr lang="en-US" sz="2000" dirty="0"/>
              <a:t>By default, data gateway installation is enabled for all users unless you restrict users in your organization from installing gateways.</a:t>
            </a:r>
          </a:p>
          <a:p>
            <a:pPr marL="342900" indent="-342900">
              <a:lnSpc>
                <a:spcPct val="100000"/>
              </a:lnSpc>
              <a:spcBef>
                <a:spcPts val="600"/>
              </a:spcBef>
              <a:spcAft>
                <a:spcPts val="600"/>
              </a:spcAft>
              <a:buFont typeface="Arial" panose="020B0604020202020204" pitchFamily="34" charset="0"/>
              <a:buChar char="•"/>
            </a:pPr>
            <a:r>
              <a:rPr lang="en-US" sz="2000" dirty="0"/>
              <a:t>In admin center, you can enable </a:t>
            </a:r>
            <a:r>
              <a:rPr lang="en-US" sz="2000" b="1" dirty="0"/>
              <a:t>Restrict Users in your organization from installing gateways</a:t>
            </a:r>
            <a:r>
              <a:rPr lang="en-US" sz="2000" dirty="0"/>
              <a:t>, then add only allowed users to do so.</a:t>
            </a:r>
          </a:p>
        </p:txBody>
      </p:sp>
      <p:pic>
        <p:nvPicPr>
          <p:cNvPr id="2" name="Picture 1">
            <a:extLst>
              <a:ext uri="{FF2B5EF4-FFF2-40B4-BE49-F238E27FC236}">
                <a16:creationId xmlns:a16="http://schemas.microsoft.com/office/drawing/2014/main" id="{E1BB9C59-CCDE-4C07-981B-F28216546699}"/>
              </a:ext>
            </a:extLst>
          </p:cNvPr>
          <p:cNvPicPr>
            <a:picLocks noChangeAspect="1"/>
          </p:cNvPicPr>
          <p:nvPr/>
        </p:nvPicPr>
        <p:blipFill rotWithShape="1">
          <a:blip r:embed="rId4"/>
          <a:srcRect l="-1" t="1008" r="1460"/>
          <a:stretch/>
        </p:blipFill>
        <p:spPr>
          <a:xfrm>
            <a:off x="9388549" y="1464317"/>
            <a:ext cx="2641660" cy="2914883"/>
          </a:xfrm>
          <a:prstGeom prst="rect">
            <a:avLst/>
          </a:prstGeom>
          <a:ln>
            <a:noFill/>
          </a:ln>
          <a:effectLst/>
        </p:spPr>
      </p:pic>
      <p:pic>
        <p:nvPicPr>
          <p:cNvPr id="5" name="Picture 4">
            <a:extLst>
              <a:ext uri="{FF2B5EF4-FFF2-40B4-BE49-F238E27FC236}">
                <a16:creationId xmlns:a16="http://schemas.microsoft.com/office/drawing/2014/main" id="{7A61888F-83EC-4F25-970C-E9FC56ECF24B}"/>
              </a:ext>
            </a:extLst>
          </p:cNvPr>
          <p:cNvPicPr>
            <a:picLocks noChangeAspect="1"/>
          </p:cNvPicPr>
          <p:nvPr/>
        </p:nvPicPr>
        <p:blipFill>
          <a:blip r:embed="rId5"/>
          <a:stretch>
            <a:fillRect/>
          </a:stretch>
        </p:blipFill>
        <p:spPr>
          <a:xfrm>
            <a:off x="5841263" y="4740158"/>
            <a:ext cx="6073845" cy="1981778"/>
          </a:xfrm>
          <a:prstGeom prst="rect">
            <a:avLst/>
          </a:prstGeom>
        </p:spPr>
      </p:pic>
      <p:sp>
        <p:nvSpPr>
          <p:cNvPr id="4" name="Footer Placeholder 2">
            <a:extLst>
              <a:ext uri="{FF2B5EF4-FFF2-40B4-BE49-F238E27FC236}">
                <a16:creationId xmlns:a16="http://schemas.microsoft.com/office/drawing/2014/main" id="{C2F34A74-7997-2CB0-A68B-FA3B9FEE516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66799940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xEl>
                                              <p:pRg st="1" end="1"/>
                                            </p:txEl>
                                          </p:spTgt>
                                        </p:tgtEl>
                                        <p:attrNameLst>
                                          <p:attrName>style.visibility</p:attrName>
                                        </p:attrNameLst>
                                      </p:cBhvr>
                                      <p:to>
                                        <p:strVal val="visible"/>
                                      </p:to>
                                    </p:set>
                                    <p:anim calcmode="lin" valueType="num">
                                      <p:cBhvr additive="base">
                                        <p:cTn id="19" dur="500" fill="hold"/>
                                        <p:tgtEl>
                                          <p:spTgt spid="10">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xEl>
                                              <p:pRg st="2" end="2"/>
                                            </p:txEl>
                                          </p:spTgt>
                                        </p:tgtEl>
                                        <p:attrNameLst>
                                          <p:attrName>style.visibility</p:attrName>
                                        </p:attrNameLst>
                                      </p:cBhvr>
                                      <p:to>
                                        <p:strVal val="visible"/>
                                      </p:to>
                                    </p:set>
                                    <p:anim calcmode="lin" valueType="num">
                                      <p:cBhvr additive="base">
                                        <p:cTn id="25" dur="500" fill="hold"/>
                                        <p:tgtEl>
                                          <p:spTgt spid="10">
                                            <p:txEl>
                                              <p:pRg st="2" end="2"/>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0">
                                            <p:txEl>
                                              <p:pRg st="3" end="3"/>
                                            </p:txEl>
                                          </p:spTgt>
                                        </p:tgtEl>
                                        <p:attrNameLst>
                                          <p:attrName>style.visibility</p:attrName>
                                        </p:attrNameLst>
                                      </p:cBhvr>
                                      <p:to>
                                        <p:strVal val="visible"/>
                                      </p:to>
                                    </p:set>
                                    <p:anim calcmode="lin" valueType="num">
                                      <p:cBhvr additive="base">
                                        <p:cTn id="31" dur="500" fill="hold"/>
                                        <p:tgtEl>
                                          <p:spTgt spid="10">
                                            <p:txEl>
                                              <p:pRg st="3" end="3"/>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0">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0">
                                            <p:txEl>
                                              <p:pRg st="4" end="4"/>
                                            </p:txEl>
                                          </p:spTgt>
                                        </p:tgtEl>
                                        <p:attrNameLst>
                                          <p:attrName>style.visibility</p:attrName>
                                        </p:attrNameLst>
                                      </p:cBhvr>
                                      <p:to>
                                        <p:strVal val="visible"/>
                                      </p:to>
                                    </p:set>
                                    <p:anim calcmode="lin" valueType="num">
                                      <p:cBhvr additive="base">
                                        <p:cTn id="37" dur="500" fill="hold"/>
                                        <p:tgtEl>
                                          <p:spTgt spid="10">
                                            <p:txEl>
                                              <p:pRg st="4" end="4"/>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0">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High-availability clusters for data gateway</a:t>
            </a: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11189032" cy="4324261"/>
          </a:xfrm>
          <a:prstGeom prst="rect">
            <a:avLst/>
          </a:prstGeom>
          <a:noFill/>
        </p:spPr>
        <p:txBody>
          <a:bodyPr wrap="square" lIns="91440" tIns="45720" rIns="91440" bIns="45720" anchor="t">
            <a:spAutoFit/>
          </a:bodyPr>
          <a:lstStyle/>
          <a:p>
            <a:pPr marL="342900" indent="-342900">
              <a:lnSpc>
                <a:spcPct val="100000"/>
              </a:lnSpc>
              <a:spcAft>
                <a:spcPts val="1200"/>
              </a:spcAft>
              <a:buFont typeface="Arial"/>
              <a:buChar char="•"/>
            </a:pPr>
            <a:r>
              <a:rPr lang="en-US" sz="2000" dirty="0"/>
              <a:t>Gateway high-availability clusters helps to ensure that your organization can access on-premises data resources from supported cloud services.</a:t>
            </a:r>
            <a:endParaRPr lang="en-US" sz="2000" dirty="0">
              <a:cs typeface="Segoe UI"/>
            </a:endParaRPr>
          </a:p>
          <a:p>
            <a:pPr marL="342900" indent="-342900">
              <a:lnSpc>
                <a:spcPct val="100000"/>
              </a:lnSpc>
              <a:spcAft>
                <a:spcPts val="1200"/>
              </a:spcAft>
              <a:buFont typeface="Arial"/>
              <a:buChar char="•"/>
            </a:pPr>
            <a:r>
              <a:rPr lang="en-US" sz="2000" dirty="0"/>
              <a:t>Gateway admins use such clusters to avoid single points of failure when accessing on-premises data resources.</a:t>
            </a:r>
            <a:endParaRPr lang="en-US" sz="2000" dirty="0">
              <a:cs typeface="Segoe UI"/>
            </a:endParaRPr>
          </a:p>
          <a:p>
            <a:pPr marL="342900" indent="-342900">
              <a:lnSpc>
                <a:spcPct val="100000"/>
              </a:lnSpc>
              <a:spcAft>
                <a:spcPts val="1200"/>
              </a:spcAft>
              <a:buFont typeface="Arial"/>
              <a:buChar char="•"/>
            </a:pPr>
            <a:r>
              <a:rPr lang="en-US" sz="2000" dirty="0"/>
              <a:t>The gateway cloud service always uses the primary gateway in a cluster unless that gateway isn't available, in that case, service switches to the next available gateway in the cluster.</a:t>
            </a:r>
            <a:endParaRPr lang="en-US" sz="2000" dirty="0">
              <a:cs typeface="Segoe UI"/>
            </a:endParaRPr>
          </a:p>
          <a:p>
            <a:pPr marL="342900" indent="-342900">
              <a:lnSpc>
                <a:spcPct val="100000"/>
              </a:lnSpc>
              <a:spcAft>
                <a:spcPts val="1200"/>
              </a:spcAft>
              <a:buFont typeface="Arial"/>
              <a:buChar char="•"/>
            </a:pPr>
            <a:r>
              <a:rPr lang="en-US" sz="2000" dirty="0"/>
              <a:t>After you create a cluster of two or more gateways, all gateway management operations like adding data sources and granting permissions apply to every gateway in the cluster.</a:t>
            </a:r>
            <a:endParaRPr lang="en-US" sz="2000" dirty="0">
              <a:cs typeface="Segoe UI"/>
            </a:endParaRPr>
          </a:p>
          <a:p>
            <a:pPr marL="342900" indent="-342900">
              <a:spcAft>
                <a:spcPts val="1200"/>
              </a:spcAft>
              <a:buFont typeface="Arial"/>
              <a:buChar char="•"/>
            </a:pPr>
            <a:r>
              <a:rPr lang="en-US" sz="2000" dirty="0"/>
              <a:t>Make sure the gateway members in a cluster are running the same gateway version, as different versions could cause unexpected failures based on supported functionality.</a:t>
            </a:r>
            <a:endParaRPr lang="en-US" sz="2000" dirty="0">
              <a:cs typeface="Segoe UI"/>
            </a:endParaRPr>
          </a:p>
          <a:p>
            <a:pPr>
              <a:lnSpc>
                <a:spcPct val="100000"/>
              </a:lnSpc>
              <a:spcBef>
                <a:spcPts val="600"/>
              </a:spcBef>
              <a:spcAft>
                <a:spcPts val="600"/>
              </a:spcAft>
            </a:pPr>
            <a:endParaRPr lang="en-US" sz="2000" dirty="0"/>
          </a:p>
        </p:txBody>
      </p:sp>
      <p:sp>
        <p:nvSpPr>
          <p:cNvPr id="2" name="Footer Placeholder 2">
            <a:extLst>
              <a:ext uri="{FF2B5EF4-FFF2-40B4-BE49-F238E27FC236}">
                <a16:creationId xmlns:a16="http://schemas.microsoft.com/office/drawing/2014/main" id="{0B8FD4C2-B250-E361-1E6D-730EFD68DC8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30957119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anim calcmode="lin" valueType="num">
                                      <p:cBhvr additive="base">
                                        <p:cTn id="7" dur="500" fill="hold"/>
                                        <p:tgtEl>
                                          <p:spTgt spid="10">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500" fill="hold"/>
                                        <p:tgtEl>
                                          <p:spTgt spid="10">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anim calcmode="lin" valueType="num">
                                      <p:cBhvr additive="base">
                                        <p:cTn id="19" dur="500" fill="hold"/>
                                        <p:tgtEl>
                                          <p:spTgt spid="10">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0">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xEl>
                                              <p:pRg st="4" end="4"/>
                                            </p:txEl>
                                          </p:spTgt>
                                        </p:tgtEl>
                                        <p:attrNameLst>
                                          <p:attrName>style.visibility</p:attrName>
                                        </p:attrNameLst>
                                      </p:cBhvr>
                                      <p:to>
                                        <p:strVal val="visible"/>
                                      </p:to>
                                    </p:set>
                                    <p:anim calcmode="lin" valueType="num">
                                      <p:cBhvr additive="base">
                                        <p:cTn id="25" dur="500" fill="hold"/>
                                        <p:tgtEl>
                                          <p:spTgt spid="10">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0">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Communication settings for Data Gateway</a:t>
            </a: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11189032" cy="5016758"/>
          </a:xfrm>
          <a:prstGeom prst="rect">
            <a:avLst/>
          </a:prstGeom>
          <a:noFill/>
        </p:spPr>
        <p:txBody>
          <a:bodyPr wrap="square" lIns="91440" tIns="45720" rIns="91440" bIns="45720" anchor="t">
            <a:spAutoFit/>
          </a:bodyPr>
          <a:lstStyle/>
          <a:p>
            <a:pPr marL="342900" indent="-342900">
              <a:lnSpc>
                <a:spcPct val="100000"/>
              </a:lnSpc>
              <a:spcBef>
                <a:spcPts val="600"/>
              </a:spcBef>
              <a:spcAft>
                <a:spcPts val="600"/>
              </a:spcAft>
              <a:buFont typeface="Arial"/>
              <a:buChar char="•"/>
            </a:pPr>
            <a:r>
              <a:rPr lang="en-US" sz="2000" dirty="0"/>
              <a:t>Relies on </a:t>
            </a:r>
            <a:r>
              <a:rPr lang="en-US" sz="2000" b="1" dirty="0"/>
              <a:t>Azure Service Bus </a:t>
            </a:r>
            <a:r>
              <a:rPr lang="en-US" sz="2000" dirty="0"/>
              <a:t>for cloud connectivity.</a:t>
            </a:r>
            <a:endParaRPr lang="en-US" dirty="0"/>
          </a:p>
          <a:p>
            <a:pPr marL="342900" indent="-342900">
              <a:lnSpc>
                <a:spcPct val="100000"/>
              </a:lnSpc>
              <a:spcBef>
                <a:spcPts val="600"/>
              </a:spcBef>
              <a:spcAft>
                <a:spcPts val="600"/>
              </a:spcAft>
              <a:buFont typeface="Arial"/>
              <a:buChar char="•"/>
            </a:pPr>
            <a:r>
              <a:rPr lang="en-US" sz="2000" dirty="0"/>
              <a:t>Correspondingly establishes </a:t>
            </a:r>
            <a:r>
              <a:rPr lang="en-US" sz="2000" u="sng" dirty="0"/>
              <a:t>outbound</a:t>
            </a:r>
            <a:r>
              <a:rPr lang="en-US" sz="2000" dirty="0"/>
              <a:t> connections to its associated Azure region.</a:t>
            </a:r>
            <a:endParaRPr lang="en-US" sz="2000" dirty="0">
              <a:cs typeface="Segoe UI"/>
            </a:endParaRPr>
          </a:p>
          <a:p>
            <a:pPr marL="342900" indent="-342900">
              <a:lnSpc>
                <a:spcPct val="100000"/>
              </a:lnSpc>
              <a:spcBef>
                <a:spcPts val="600"/>
              </a:spcBef>
              <a:spcAft>
                <a:spcPts val="600"/>
              </a:spcAft>
              <a:buFont typeface="Arial"/>
              <a:buChar char="•"/>
            </a:pPr>
            <a:r>
              <a:rPr lang="en-US" sz="2000" dirty="0"/>
              <a:t>If you registered for either a Power BI tenant or an Office 365 tenant, your Azure region defaults to the region of that service. Otherwise, your Azure region might be the one closest to you.</a:t>
            </a:r>
            <a:endParaRPr lang="en-US" sz="2000" dirty="0">
              <a:cs typeface="Segoe UI"/>
            </a:endParaRPr>
          </a:p>
          <a:p>
            <a:pPr marL="342900" indent="-342900">
              <a:lnSpc>
                <a:spcPct val="100000"/>
              </a:lnSpc>
              <a:spcBef>
                <a:spcPts val="600"/>
              </a:spcBef>
              <a:spcAft>
                <a:spcPts val="600"/>
              </a:spcAft>
              <a:buFont typeface="Arial"/>
              <a:buChar char="•"/>
            </a:pPr>
            <a:r>
              <a:rPr lang="en-US" sz="2000" dirty="0"/>
              <a:t>If a firewall blocks outbound connections, configure the firewall to allow outbound connections from the gateway to its associated Azure region.</a:t>
            </a:r>
            <a:endParaRPr lang="en-US" sz="2000" dirty="0">
              <a:cs typeface="Segoe UI"/>
            </a:endParaRPr>
          </a:p>
          <a:p>
            <a:pPr marL="342900" indent="-342900">
              <a:lnSpc>
                <a:spcPct val="100000"/>
              </a:lnSpc>
              <a:spcBef>
                <a:spcPts val="600"/>
              </a:spcBef>
              <a:spcAft>
                <a:spcPts val="600"/>
              </a:spcAft>
              <a:buFont typeface="Arial"/>
              <a:buChar char="•"/>
            </a:pPr>
            <a:r>
              <a:rPr lang="en-US" sz="2000" dirty="0"/>
              <a:t>The gateway communicates on the following outbound ports: TCP 443, 5671, 5672, and from 9350 through 9354. </a:t>
            </a:r>
            <a:endParaRPr lang="en-US" sz="2000" dirty="0">
              <a:cs typeface="Segoe UI"/>
            </a:endParaRPr>
          </a:p>
          <a:p>
            <a:pPr marL="342900" indent="-342900">
              <a:lnSpc>
                <a:spcPct val="100000"/>
              </a:lnSpc>
              <a:spcBef>
                <a:spcPts val="600"/>
              </a:spcBef>
              <a:spcAft>
                <a:spcPts val="600"/>
              </a:spcAft>
              <a:buFont typeface="Arial"/>
              <a:buChar char="•"/>
            </a:pPr>
            <a:r>
              <a:rPr lang="en-US" sz="2000" dirty="0"/>
              <a:t>The gateway does </a:t>
            </a:r>
            <a:r>
              <a:rPr lang="en-US" sz="2000" b="1" dirty="0"/>
              <a:t>not</a:t>
            </a:r>
            <a:r>
              <a:rPr lang="en-US" sz="2000" dirty="0"/>
              <a:t> require inbound ports.</a:t>
            </a:r>
            <a:endParaRPr lang="en-US" sz="2000" dirty="0">
              <a:cs typeface="Segoe UI"/>
            </a:endParaRPr>
          </a:p>
          <a:p>
            <a:pPr marL="342900" indent="-342900">
              <a:lnSpc>
                <a:spcPct val="100000"/>
              </a:lnSpc>
              <a:spcBef>
                <a:spcPts val="600"/>
              </a:spcBef>
              <a:spcAft>
                <a:spcPts val="600"/>
              </a:spcAft>
              <a:buFont typeface="Arial"/>
              <a:buChar char="•"/>
            </a:pPr>
            <a:r>
              <a:rPr lang="en-US" sz="2000" dirty="0"/>
              <a:t>The gateway communicates with Service Bus by using an IP address along with a fully qualified domain name (FQDN). If you force the gateway to communicate via HTTPS, it will strictly use FQDNs only and won't communicate by using IP addresses.</a:t>
            </a:r>
            <a:endParaRPr lang="en-US" sz="2000" dirty="0">
              <a:cs typeface="Segoe UI"/>
            </a:endParaRPr>
          </a:p>
        </p:txBody>
      </p:sp>
    </p:spTree>
    <p:custDataLst>
      <p:tags r:id="rId1"/>
    </p:custDataLst>
    <p:extLst>
      <p:ext uri="{BB962C8B-B14F-4D97-AF65-F5344CB8AC3E}">
        <p14:creationId xmlns:p14="http://schemas.microsoft.com/office/powerpoint/2010/main" val="316964897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anim calcmode="lin" valueType="num">
                                      <p:cBhvr additive="base">
                                        <p:cTn id="7" dur="500" fill="hold"/>
                                        <p:tgtEl>
                                          <p:spTgt spid="10">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500" fill="hold"/>
                                        <p:tgtEl>
                                          <p:spTgt spid="10">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anim calcmode="lin" valueType="num">
                                      <p:cBhvr additive="base">
                                        <p:cTn id="19" dur="500" fill="hold"/>
                                        <p:tgtEl>
                                          <p:spTgt spid="10">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0">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xEl>
                                              <p:pRg st="4" end="4"/>
                                            </p:txEl>
                                          </p:spTgt>
                                        </p:tgtEl>
                                        <p:attrNameLst>
                                          <p:attrName>style.visibility</p:attrName>
                                        </p:attrNameLst>
                                      </p:cBhvr>
                                      <p:to>
                                        <p:strVal val="visible"/>
                                      </p:to>
                                    </p:set>
                                    <p:anim calcmode="lin" valueType="num">
                                      <p:cBhvr additive="base">
                                        <p:cTn id="25" dur="500" fill="hold"/>
                                        <p:tgtEl>
                                          <p:spTgt spid="10">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0">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0">
                                            <p:txEl>
                                              <p:pRg st="5" end="5"/>
                                            </p:txEl>
                                          </p:spTgt>
                                        </p:tgtEl>
                                        <p:attrNameLst>
                                          <p:attrName>style.visibility</p:attrName>
                                        </p:attrNameLst>
                                      </p:cBhvr>
                                      <p:to>
                                        <p:strVal val="visible"/>
                                      </p:to>
                                    </p:set>
                                    <p:anim calcmode="lin" valueType="num">
                                      <p:cBhvr additive="base">
                                        <p:cTn id="29" dur="500" fill="hold"/>
                                        <p:tgtEl>
                                          <p:spTgt spid="10">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10">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0">
                                            <p:txEl>
                                              <p:pRg st="6" end="6"/>
                                            </p:txEl>
                                          </p:spTgt>
                                        </p:tgtEl>
                                        <p:attrNameLst>
                                          <p:attrName>style.visibility</p:attrName>
                                        </p:attrNameLst>
                                      </p:cBhvr>
                                      <p:to>
                                        <p:strVal val="visible"/>
                                      </p:to>
                                    </p:set>
                                    <p:anim calcmode="lin" valueType="num">
                                      <p:cBhvr additive="base">
                                        <p:cTn id="35" dur="500" fill="hold"/>
                                        <p:tgtEl>
                                          <p:spTgt spid="10">
                                            <p:txEl>
                                              <p:pRg st="6" end="6"/>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10">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Update an on-premises data gateway</a:t>
            </a: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11189032" cy="2246769"/>
          </a:xfrm>
          <a:prstGeom prst="rect">
            <a:avLst/>
          </a:prstGeom>
          <a:noFill/>
        </p:spPr>
        <p:txBody>
          <a:bodyPr wrap="square" lIns="91440" tIns="45720" rIns="91440" bIns="45720" anchor="t">
            <a:spAutoFit/>
          </a:bodyPr>
          <a:lstStyle/>
          <a:p>
            <a:pPr marL="342900" indent="-342900">
              <a:lnSpc>
                <a:spcPct val="100000"/>
              </a:lnSpc>
              <a:spcBef>
                <a:spcPts val="600"/>
              </a:spcBef>
              <a:spcAft>
                <a:spcPts val="600"/>
              </a:spcAft>
              <a:buFont typeface="Arial"/>
              <a:buChar char="•"/>
            </a:pPr>
            <a:r>
              <a:rPr lang="en-US" sz="2000" dirty="0"/>
              <a:t>We release an update every month, and each of these updates includes new features along with the latest Mashup Engine.</a:t>
            </a:r>
            <a:endParaRPr lang="en-US" dirty="0"/>
          </a:p>
          <a:p>
            <a:pPr marL="342900" indent="-342900">
              <a:lnSpc>
                <a:spcPct val="100000"/>
              </a:lnSpc>
              <a:spcBef>
                <a:spcPts val="600"/>
              </a:spcBef>
              <a:spcAft>
                <a:spcPts val="600"/>
              </a:spcAft>
              <a:buFont typeface="Arial"/>
              <a:buChar char="•"/>
            </a:pPr>
            <a:r>
              <a:rPr lang="en-US" sz="2000" dirty="0"/>
              <a:t>If you're running a gateway cluster, we recommend that you update all nodes in the cluster at the same time.</a:t>
            </a:r>
            <a:endParaRPr lang="en-US" sz="2000" dirty="0">
              <a:cs typeface="Segoe UI"/>
            </a:endParaRPr>
          </a:p>
          <a:p>
            <a:pPr marL="342900" indent="-342900">
              <a:lnSpc>
                <a:spcPct val="100000"/>
              </a:lnSpc>
              <a:spcBef>
                <a:spcPts val="600"/>
              </a:spcBef>
              <a:spcAft>
                <a:spcPts val="600"/>
              </a:spcAft>
              <a:buFont typeface="Arial"/>
              <a:buChar char="•"/>
            </a:pPr>
            <a:r>
              <a:rPr lang="en-US" sz="2000" dirty="0"/>
              <a:t>Download the latest standard mode gateway or personal mode gateway and run the installation program. </a:t>
            </a:r>
            <a:endParaRPr lang="en-US" sz="2000" dirty="0">
              <a:cs typeface="Segoe UI"/>
            </a:endParaRPr>
          </a:p>
        </p:txBody>
      </p:sp>
      <p:pic>
        <p:nvPicPr>
          <p:cNvPr id="2" name="Picture 1">
            <a:extLst>
              <a:ext uri="{FF2B5EF4-FFF2-40B4-BE49-F238E27FC236}">
                <a16:creationId xmlns:a16="http://schemas.microsoft.com/office/drawing/2014/main" id="{68377570-B289-4945-ABD8-C3EAD199F2D6}"/>
              </a:ext>
            </a:extLst>
          </p:cNvPr>
          <p:cNvPicPr>
            <a:picLocks noChangeAspect="1"/>
          </p:cNvPicPr>
          <p:nvPr/>
        </p:nvPicPr>
        <p:blipFill>
          <a:blip r:embed="rId4"/>
          <a:stretch>
            <a:fillRect/>
          </a:stretch>
        </p:blipFill>
        <p:spPr>
          <a:xfrm>
            <a:off x="5678433" y="3429000"/>
            <a:ext cx="6375346" cy="3120705"/>
          </a:xfrm>
          <a:prstGeom prst="rect">
            <a:avLst/>
          </a:prstGeom>
        </p:spPr>
      </p:pic>
      <p:sp>
        <p:nvSpPr>
          <p:cNvPr id="7" name="TextBox 6">
            <a:extLst>
              <a:ext uri="{FF2B5EF4-FFF2-40B4-BE49-F238E27FC236}">
                <a16:creationId xmlns:a16="http://schemas.microsoft.com/office/drawing/2014/main" id="{B566A8DD-053A-4F68-9380-E418138F549B}"/>
              </a:ext>
            </a:extLst>
          </p:cNvPr>
          <p:cNvSpPr txBox="1"/>
          <p:nvPr/>
        </p:nvSpPr>
        <p:spPr>
          <a:xfrm>
            <a:off x="558800" y="3753845"/>
            <a:ext cx="4991394" cy="1785104"/>
          </a:xfrm>
          <a:prstGeom prst="rect">
            <a:avLst/>
          </a:prstGeom>
          <a:noFill/>
        </p:spPr>
        <p:txBody>
          <a:bodyPr wrap="square" lIns="91440" tIns="45720" rIns="91440" bIns="45720" anchor="t">
            <a:spAutoFit/>
          </a:bodyPr>
          <a:lstStyle/>
          <a:p>
            <a:pPr>
              <a:lnSpc>
                <a:spcPct val="100000"/>
              </a:lnSpc>
              <a:spcBef>
                <a:spcPts val="600"/>
              </a:spcBef>
              <a:spcAft>
                <a:spcPts val="600"/>
              </a:spcAft>
            </a:pPr>
            <a:r>
              <a:rPr lang="en-US" sz="2000" dirty="0"/>
              <a:t>You can check your current version from the Gateway Status screen</a:t>
            </a:r>
          </a:p>
          <a:p>
            <a:pPr>
              <a:lnSpc>
                <a:spcPct val="100000"/>
              </a:lnSpc>
              <a:spcBef>
                <a:spcPts val="600"/>
              </a:spcBef>
              <a:spcAft>
                <a:spcPts val="600"/>
              </a:spcAft>
            </a:pPr>
            <a:r>
              <a:rPr lang="en-US" sz="2000" b="1" dirty="0"/>
              <a:t>Note</a:t>
            </a:r>
            <a:r>
              <a:rPr lang="en-US" sz="2000" dirty="0"/>
              <a:t>: Currently, Microsoft actively supports only the last six releases of the on-premises data gateway.</a:t>
            </a:r>
          </a:p>
        </p:txBody>
      </p:sp>
      <p:sp>
        <p:nvSpPr>
          <p:cNvPr id="4" name="Footer Placeholder 2">
            <a:extLst>
              <a:ext uri="{FF2B5EF4-FFF2-40B4-BE49-F238E27FC236}">
                <a16:creationId xmlns:a16="http://schemas.microsoft.com/office/drawing/2014/main" id="{9B96E9B1-7EC5-8CA6-6079-090067334617}"/>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4028623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anim calcmode="lin" valueType="num">
                                      <p:cBhvr additive="base">
                                        <p:cTn id="7" dur="500" fill="hold"/>
                                        <p:tgtEl>
                                          <p:spTgt spid="10">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500" fill="hold"/>
                                        <p:tgtEl>
                                          <p:spTgt spid="10">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anim calcmode="lin" valueType="num">
                                      <p:cBhvr additive="base">
                                        <p:cTn id="19"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7">
                                            <p:txEl>
                                              <p:pRg st="1" end="1"/>
                                            </p:txEl>
                                          </p:spTgt>
                                        </p:tgtEl>
                                        <p:attrNameLst>
                                          <p:attrName>style.visibility</p:attrName>
                                        </p:attrNameLst>
                                      </p:cBhvr>
                                      <p:to>
                                        <p:strVal val="visible"/>
                                      </p:to>
                                    </p:set>
                                    <p:animEffect transition="in" filter="fade">
                                      <p:cBhvr>
                                        <p:cTn id="25" dur="1000"/>
                                        <p:tgtEl>
                                          <p:spTgt spid="7">
                                            <p:txEl>
                                              <p:pRg st="1" end="1"/>
                                            </p:txEl>
                                          </p:spTgt>
                                        </p:tgtEl>
                                      </p:cBhvr>
                                    </p:animEffect>
                                    <p:anim calcmode="lin" valueType="num">
                                      <p:cBhvr>
                                        <p:cTn id="26"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27"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Update an on-premises data gateway</a:t>
            </a: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11189032" cy="1169551"/>
          </a:xfrm>
          <a:prstGeom prst="rect">
            <a:avLst/>
          </a:prstGeom>
          <a:noFill/>
        </p:spPr>
        <p:txBody>
          <a:bodyPr wrap="square">
            <a:spAutoFit/>
          </a:bodyPr>
          <a:lstStyle/>
          <a:p>
            <a:pPr>
              <a:lnSpc>
                <a:spcPct val="100000"/>
              </a:lnSpc>
              <a:spcBef>
                <a:spcPts val="600"/>
              </a:spcBef>
              <a:spcAft>
                <a:spcPts val="600"/>
              </a:spcAft>
            </a:pPr>
            <a:r>
              <a:rPr lang="en-US" sz="2000" dirty="0"/>
              <a:t>Download the latest gateway and run the installation program. </a:t>
            </a:r>
          </a:p>
          <a:p>
            <a:pPr>
              <a:lnSpc>
                <a:spcPct val="100000"/>
              </a:lnSpc>
              <a:spcBef>
                <a:spcPts val="600"/>
              </a:spcBef>
              <a:spcAft>
                <a:spcPts val="600"/>
              </a:spcAft>
            </a:pPr>
            <a:r>
              <a:rPr lang="en-US" sz="2000" dirty="0"/>
              <a:t>If the version you're trying to install isn't newer than the version already installed, you'll receive one of the following error messages.</a:t>
            </a:r>
          </a:p>
        </p:txBody>
      </p:sp>
      <p:pic>
        <p:nvPicPr>
          <p:cNvPr id="4" name="Picture 3">
            <a:extLst>
              <a:ext uri="{FF2B5EF4-FFF2-40B4-BE49-F238E27FC236}">
                <a16:creationId xmlns:a16="http://schemas.microsoft.com/office/drawing/2014/main" id="{86AC8E8A-1E66-419C-94AD-D7EDEA5CAB01}"/>
              </a:ext>
            </a:extLst>
          </p:cNvPr>
          <p:cNvPicPr>
            <a:picLocks noChangeAspect="1"/>
          </p:cNvPicPr>
          <p:nvPr/>
        </p:nvPicPr>
        <p:blipFill>
          <a:blip r:embed="rId4"/>
          <a:stretch>
            <a:fillRect/>
          </a:stretch>
        </p:blipFill>
        <p:spPr>
          <a:xfrm>
            <a:off x="1725255" y="2706436"/>
            <a:ext cx="5255018" cy="2117993"/>
          </a:xfrm>
          <a:prstGeom prst="rect">
            <a:avLst/>
          </a:prstGeom>
        </p:spPr>
      </p:pic>
      <p:pic>
        <p:nvPicPr>
          <p:cNvPr id="5" name="Picture 4">
            <a:extLst>
              <a:ext uri="{FF2B5EF4-FFF2-40B4-BE49-F238E27FC236}">
                <a16:creationId xmlns:a16="http://schemas.microsoft.com/office/drawing/2014/main" id="{8B3BF4E1-DA17-42F4-8864-01D1E6B1C766}"/>
              </a:ext>
            </a:extLst>
          </p:cNvPr>
          <p:cNvPicPr>
            <a:picLocks noChangeAspect="1"/>
          </p:cNvPicPr>
          <p:nvPr/>
        </p:nvPicPr>
        <p:blipFill>
          <a:blip r:embed="rId5"/>
          <a:stretch>
            <a:fillRect/>
          </a:stretch>
        </p:blipFill>
        <p:spPr>
          <a:xfrm>
            <a:off x="5665345" y="4456956"/>
            <a:ext cx="5526350" cy="2128668"/>
          </a:xfrm>
          <a:prstGeom prst="rect">
            <a:avLst/>
          </a:prstGeom>
        </p:spPr>
      </p:pic>
      <p:sp>
        <p:nvSpPr>
          <p:cNvPr id="2" name="Footer Placeholder 2">
            <a:extLst>
              <a:ext uri="{FF2B5EF4-FFF2-40B4-BE49-F238E27FC236}">
                <a16:creationId xmlns:a16="http://schemas.microsoft.com/office/drawing/2014/main" id="{661C0156-99ED-B7CC-9155-6980990B4A1D}"/>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25410433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  </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solidFill>
                  <a:schemeClr val="tx1"/>
                </a:solidFill>
              </a:rPr>
              <a:t>After completing this Learning, you will be able to:</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1889779972"/>
              </p:ext>
            </p:extLst>
          </p:nvPr>
        </p:nvGraphicFramePr>
        <p:xfrm>
          <a:off x="571500" y="1752870"/>
          <a:ext cx="8188960" cy="2344542"/>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80114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r>
                        <a:rPr lang="en-US" sz="1400" b="0" kern="1200" dirty="0">
                          <a:solidFill>
                            <a:schemeClr val="tx1"/>
                          </a:solidFill>
                          <a:latin typeface="+mj-lt"/>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dirty="0">
                          <a:solidFill>
                            <a:schemeClr val="tx1"/>
                          </a:solidFill>
                        </a:rPr>
                        <a:t>What on-premises data gateways are</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b="0" dirty="0">
                          <a:solidFill>
                            <a:schemeClr val="tx1"/>
                          </a:solidFill>
                        </a:rPr>
                        <a:t>How on-premises data gateways work</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770268">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lang="en-US" sz="1400" dirty="0"/>
                        <a:t>How to install and configure the gateway</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711690">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rPr>
                        <a:t>Understand….</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bold"/>
                      </a:endParaRPr>
                    </a:p>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bold"/>
                        </a:rPr>
                        <a:t>How to manage gateway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6878546"/>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153400" y="261081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2" name="Footer Placeholder 2">
            <a:extLst>
              <a:ext uri="{FF2B5EF4-FFF2-40B4-BE49-F238E27FC236}">
                <a16:creationId xmlns:a16="http://schemas.microsoft.com/office/drawing/2014/main" id="{9094971B-E6E5-F2C0-DA10-5AA0BA575B4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UI"/>
              </a:rPr>
              <a:t>Microsoft Confidential</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p:txBody>
      </p:sp>
      <p:cxnSp>
        <p:nvCxnSpPr>
          <p:cNvPr id="5" name="Straight Connector 4">
            <a:extLst>
              <a:ext uri="{FF2B5EF4-FFF2-40B4-BE49-F238E27FC236}">
                <a16:creationId xmlns:a16="http://schemas.microsoft.com/office/drawing/2014/main" id="{216557A9-2B37-9FB4-D38C-37BBE67160F2}"/>
              </a:ext>
              <a:ext uri="{C183D7F6-B498-43B3-948B-1728B52AA6E4}">
                <adec:decorative xmlns:adec="http://schemas.microsoft.com/office/drawing/2017/decorative" val="1"/>
              </a:ext>
            </a:extLst>
          </p:cNvPr>
          <p:cNvCxnSpPr>
            <a:cxnSpLocks/>
          </p:cNvCxnSpPr>
          <p:nvPr/>
        </p:nvCxnSpPr>
        <p:spPr>
          <a:xfrm>
            <a:off x="8153400" y="3390007"/>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171119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Update an on-premises data gateway</a:t>
            </a:r>
          </a:p>
        </p:txBody>
      </p:sp>
      <p:sp>
        <p:nvSpPr>
          <p:cNvPr id="10" name="TextBox 9">
            <a:extLst>
              <a:ext uri="{FF2B5EF4-FFF2-40B4-BE49-F238E27FC236}">
                <a16:creationId xmlns:a16="http://schemas.microsoft.com/office/drawing/2014/main" id="{E4F20610-6F36-4C62-BD30-C7AD324DC0BE}"/>
              </a:ext>
            </a:extLst>
          </p:cNvPr>
          <p:cNvSpPr txBox="1"/>
          <p:nvPr/>
        </p:nvSpPr>
        <p:spPr>
          <a:xfrm>
            <a:off x="435933" y="1336710"/>
            <a:ext cx="11408737" cy="1169551"/>
          </a:xfrm>
          <a:prstGeom prst="rect">
            <a:avLst/>
          </a:prstGeom>
          <a:noFill/>
        </p:spPr>
        <p:txBody>
          <a:bodyPr wrap="square" lIns="91440" tIns="45720" rIns="91440" bIns="45720" anchor="t">
            <a:spAutoFit/>
          </a:bodyPr>
          <a:lstStyle/>
          <a:p>
            <a:pPr>
              <a:lnSpc>
                <a:spcPct val="100000"/>
              </a:lnSpc>
              <a:spcBef>
                <a:spcPts val="600"/>
              </a:spcBef>
              <a:spcAft>
                <a:spcPts val="600"/>
              </a:spcAft>
            </a:pPr>
            <a:r>
              <a:rPr lang="en-US" sz="2000" dirty="0"/>
              <a:t>If you install a newer version, you'll be prompted to update.</a:t>
            </a:r>
          </a:p>
          <a:p>
            <a:pPr>
              <a:spcBef>
                <a:spcPts val="600"/>
              </a:spcBef>
              <a:spcAft>
                <a:spcPts val="600"/>
              </a:spcAft>
            </a:pPr>
            <a:r>
              <a:rPr lang="en-US" sz="2000" dirty="0"/>
              <a:t>After the installation finishes, see a new updated version of information from the </a:t>
            </a:r>
            <a:r>
              <a:rPr lang="en-US" sz="2000" b="1" dirty="0"/>
              <a:t>Status</a:t>
            </a:r>
            <a:r>
              <a:rPr lang="en-US" sz="2000" dirty="0"/>
              <a:t> screen of the Gateway.</a:t>
            </a:r>
            <a:endParaRPr lang="en-US" sz="2000" dirty="0">
              <a:cs typeface="Segoe UI"/>
            </a:endParaRPr>
          </a:p>
        </p:txBody>
      </p:sp>
      <p:pic>
        <p:nvPicPr>
          <p:cNvPr id="9" name="Picture 8">
            <a:extLst>
              <a:ext uri="{FF2B5EF4-FFF2-40B4-BE49-F238E27FC236}">
                <a16:creationId xmlns:a16="http://schemas.microsoft.com/office/drawing/2014/main" id="{B98B9D6A-10CB-4FF7-B652-2853F75157D6}"/>
              </a:ext>
            </a:extLst>
          </p:cNvPr>
          <p:cNvPicPr>
            <a:picLocks noChangeAspect="1"/>
          </p:cNvPicPr>
          <p:nvPr/>
        </p:nvPicPr>
        <p:blipFill>
          <a:blip r:embed="rId4"/>
          <a:stretch>
            <a:fillRect/>
          </a:stretch>
        </p:blipFill>
        <p:spPr>
          <a:xfrm>
            <a:off x="6218979" y="2682123"/>
            <a:ext cx="5270290" cy="1462645"/>
          </a:xfrm>
          <a:prstGeom prst="rect">
            <a:avLst/>
          </a:prstGeom>
        </p:spPr>
      </p:pic>
      <p:pic>
        <p:nvPicPr>
          <p:cNvPr id="13" name="Picture 12">
            <a:extLst>
              <a:ext uri="{FF2B5EF4-FFF2-40B4-BE49-F238E27FC236}">
                <a16:creationId xmlns:a16="http://schemas.microsoft.com/office/drawing/2014/main" id="{81F6552D-FF56-4995-90AA-6E659BBC2BA4}"/>
              </a:ext>
            </a:extLst>
          </p:cNvPr>
          <p:cNvPicPr>
            <a:picLocks noChangeAspect="1"/>
          </p:cNvPicPr>
          <p:nvPr/>
        </p:nvPicPr>
        <p:blipFill>
          <a:blip r:embed="rId5"/>
          <a:stretch>
            <a:fillRect/>
          </a:stretch>
        </p:blipFill>
        <p:spPr>
          <a:xfrm>
            <a:off x="655638" y="2808156"/>
            <a:ext cx="5269726" cy="3671325"/>
          </a:xfrm>
          <a:prstGeom prst="rect">
            <a:avLst/>
          </a:prstGeom>
        </p:spPr>
      </p:pic>
      <p:pic>
        <p:nvPicPr>
          <p:cNvPr id="15" name="Picture 14">
            <a:extLst>
              <a:ext uri="{FF2B5EF4-FFF2-40B4-BE49-F238E27FC236}">
                <a16:creationId xmlns:a16="http://schemas.microsoft.com/office/drawing/2014/main" id="{BFEE01C3-345A-4BEA-8BFB-D9C8D67BCEFA}"/>
              </a:ext>
            </a:extLst>
          </p:cNvPr>
          <p:cNvPicPr>
            <a:picLocks noChangeAspect="1"/>
          </p:cNvPicPr>
          <p:nvPr/>
        </p:nvPicPr>
        <p:blipFill>
          <a:blip r:embed="rId6"/>
          <a:stretch>
            <a:fillRect/>
          </a:stretch>
        </p:blipFill>
        <p:spPr>
          <a:xfrm>
            <a:off x="6218979" y="4364649"/>
            <a:ext cx="5333996" cy="2114832"/>
          </a:xfrm>
          <a:prstGeom prst="rect">
            <a:avLst/>
          </a:prstGeom>
        </p:spPr>
      </p:pic>
      <p:sp>
        <p:nvSpPr>
          <p:cNvPr id="2" name="Footer Placeholder 2">
            <a:extLst>
              <a:ext uri="{FF2B5EF4-FFF2-40B4-BE49-F238E27FC236}">
                <a16:creationId xmlns:a16="http://schemas.microsoft.com/office/drawing/2014/main" id="{621C17D2-DE83-BED8-E8B2-9ED5789595F4}"/>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70084979"/>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igrate, restore, or take over a data gateway</a:t>
            </a: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11189032" cy="1477328"/>
          </a:xfrm>
          <a:prstGeom prst="rect">
            <a:avLst/>
          </a:prstGeom>
          <a:noFill/>
        </p:spPr>
        <p:txBody>
          <a:bodyPr wrap="square">
            <a:spAutoFit/>
          </a:bodyPr>
          <a:lstStyle/>
          <a:p>
            <a:pPr>
              <a:lnSpc>
                <a:spcPct val="100000"/>
              </a:lnSpc>
              <a:spcBef>
                <a:spcPts val="600"/>
              </a:spcBef>
              <a:spcAft>
                <a:spcPts val="600"/>
              </a:spcAft>
            </a:pPr>
            <a:r>
              <a:rPr lang="en-US" sz="2000" dirty="0"/>
              <a:t>If you're restoring the gateway on the computer that has the original gateway installation, you must first uninstall the gateway on that computer.</a:t>
            </a:r>
          </a:p>
          <a:p>
            <a:pPr>
              <a:lnSpc>
                <a:spcPct val="100000"/>
              </a:lnSpc>
              <a:spcBef>
                <a:spcPts val="600"/>
              </a:spcBef>
              <a:spcAft>
                <a:spcPts val="600"/>
              </a:spcAft>
            </a:pPr>
            <a:r>
              <a:rPr lang="en-US" sz="2000" dirty="0"/>
              <a:t>If you remove or delete a gateway cluster in any of the cloud services, you will not be able to restore it.</a:t>
            </a:r>
          </a:p>
        </p:txBody>
      </p:sp>
      <p:sp>
        <p:nvSpPr>
          <p:cNvPr id="7" name="Text Placeholder 2">
            <a:extLst>
              <a:ext uri="{FF2B5EF4-FFF2-40B4-BE49-F238E27FC236}">
                <a16:creationId xmlns:a16="http://schemas.microsoft.com/office/drawing/2014/main" id="{FC430724-67DA-40D9-BAEF-832C92AB18FA}"/>
              </a:ext>
            </a:extLst>
          </p:cNvPr>
          <p:cNvSpPr txBox="1">
            <a:spLocks/>
          </p:cNvSpPr>
          <p:nvPr/>
        </p:nvSpPr>
        <p:spPr>
          <a:xfrm>
            <a:off x="514829" y="3102980"/>
            <a:ext cx="6154419" cy="3284561"/>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sz="2000" b="1" dirty="0"/>
              <a:t>To restore or migrate:</a:t>
            </a:r>
          </a:p>
          <a:p>
            <a:pPr marL="342900" indent="-342900">
              <a:buFont typeface="Arial" panose="020B0604020202020204" pitchFamily="34" charset="0"/>
              <a:buChar char="•"/>
            </a:pPr>
            <a:r>
              <a:rPr lang="en-US" sz="2000" dirty="0"/>
              <a:t>Run the gateway installer on a computer where you want to migrate, restore, or take over an on-premises data gateway.</a:t>
            </a:r>
          </a:p>
          <a:p>
            <a:pPr marL="342900" indent="-342900">
              <a:buFont typeface="Arial" panose="020B0604020202020204" pitchFamily="34" charset="0"/>
              <a:buChar char="•"/>
            </a:pPr>
            <a:r>
              <a:rPr lang="en-US" sz="2000" dirty="0"/>
              <a:t>After you've signed-in to your Office 365 account, register the gateway. Select Migrate, restore, or takeover an existing gateway &gt; Next.</a:t>
            </a:r>
          </a:p>
        </p:txBody>
      </p:sp>
      <p:pic>
        <p:nvPicPr>
          <p:cNvPr id="2" name="Picture 1">
            <a:extLst>
              <a:ext uri="{FF2B5EF4-FFF2-40B4-BE49-F238E27FC236}">
                <a16:creationId xmlns:a16="http://schemas.microsoft.com/office/drawing/2014/main" id="{4C0EB7D0-83C6-4C77-AD86-D01D57DDE1A1}"/>
              </a:ext>
            </a:extLst>
          </p:cNvPr>
          <p:cNvPicPr>
            <a:picLocks noChangeAspect="1"/>
          </p:cNvPicPr>
          <p:nvPr/>
        </p:nvPicPr>
        <p:blipFill rotWithShape="1">
          <a:blip r:embed="rId4"/>
          <a:srcRect l="870" t="1218" r="994"/>
          <a:stretch/>
        </p:blipFill>
        <p:spPr>
          <a:xfrm>
            <a:off x="6908045" y="3102980"/>
            <a:ext cx="5283955" cy="3205541"/>
          </a:xfrm>
          <a:prstGeom prst="rect">
            <a:avLst/>
          </a:prstGeom>
          <a:ln>
            <a:noFill/>
          </a:ln>
          <a:effectLst>
            <a:outerShdw blurRad="292100" dist="139700" dir="2700000" algn="tl" rotWithShape="0">
              <a:srgbClr val="333333">
                <a:alpha val="65000"/>
              </a:srgbClr>
            </a:outerShdw>
          </a:effectLst>
        </p:spPr>
      </p:pic>
      <p:sp>
        <p:nvSpPr>
          <p:cNvPr id="4" name="Footer Placeholder 2">
            <a:extLst>
              <a:ext uri="{FF2B5EF4-FFF2-40B4-BE49-F238E27FC236}">
                <a16:creationId xmlns:a16="http://schemas.microsoft.com/office/drawing/2014/main" id="{530E5AC6-D22F-30FC-A81D-1234A1FDC259}"/>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85784363"/>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solidFill>
                  <a:srgbClr val="243A5E"/>
                </a:solidFill>
              </a:rPr>
              <a:t>Migrate, restore, or take over a data gateway</a:t>
            </a: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6255524" cy="2092881"/>
          </a:xfrm>
          <a:prstGeom prst="rect">
            <a:avLst/>
          </a:prstGeom>
          <a:noFill/>
        </p:spPr>
        <p:txBody>
          <a:bodyPr wrap="square" lIns="91440" tIns="45720" rIns="91440" bIns="45720" anchor="t">
            <a:spAutoFit/>
          </a:bodyPr>
          <a:lstStyle/>
          <a:p>
            <a:pPr>
              <a:lnSpc>
                <a:spcPct val="100000"/>
              </a:lnSpc>
              <a:spcBef>
                <a:spcPts val="600"/>
              </a:spcBef>
              <a:spcAft>
                <a:spcPts val="600"/>
              </a:spcAft>
            </a:pPr>
            <a:r>
              <a:rPr lang="en-US" sz="2000" dirty="0"/>
              <a:t>Select from the available clusters and gateways then enter the recovery key for the selected gateway. You created and safely stored the recovery key when you originally installed the gateway -&gt; </a:t>
            </a:r>
            <a:r>
              <a:rPr lang="en-US" sz="2000" u="sng" dirty="0"/>
              <a:t>Configure.</a:t>
            </a:r>
          </a:p>
          <a:p>
            <a:pPr>
              <a:lnSpc>
                <a:spcPct val="100000"/>
              </a:lnSpc>
              <a:spcBef>
                <a:spcPts val="600"/>
              </a:spcBef>
              <a:spcAft>
                <a:spcPts val="600"/>
              </a:spcAft>
            </a:pPr>
            <a:r>
              <a:rPr lang="en-US" sz="2000" dirty="0"/>
              <a:t>After the configuration finishes, the process of migrating, restoring, or taking over is complete.</a:t>
            </a:r>
          </a:p>
        </p:txBody>
      </p:sp>
      <p:pic>
        <p:nvPicPr>
          <p:cNvPr id="4" name="Picture 3">
            <a:extLst>
              <a:ext uri="{FF2B5EF4-FFF2-40B4-BE49-F238E27FC236}">
                <a16:creationId xmlns:a16="http://schemas.microsoft.com/office/drawing/2014/main" id="{8CDDE52B-B959-486D-9BA3-33CEE0235032}"/>
              </a:ext>
            </a:extLst>
          </p:cNvPr>
          <p:cNvPicPr>
            <a:picLocks noChangeAspect="1"/>
          </p:cNvPicPr>
          <p:nvPr/>
        </p:nvPicPr>
        <p:blipFill rotWithShape="1">
          <a:blip r:embed="rId4"/>
          <a:srcRect t="1204" b="1"/>
          <a:stretch/>
        </p:blipFill>
        <p:spPr>
          <a:xfrm>
            <a:off x="7133471" y="1336710"/>
            <a:ext cx="4974668" cy="3513897"/>
          </a:xfrm>
          <a:prstGeom prst="rect">
            <a:avLst/>
          </a:prstGeom>
          <a:ln>
            <a:noFill/>
          </a:ln>
          <a:effectLst>
            <a:outerShdw blurRad="292100" dist="139700" dir="2700000" algn="tl" rotWithShape="0">
              <a:srgbClr val="333333">
                <a:alpha val="65000"/>
              </a:srgbClr>
            </a:outerShdw>
          </a:effectLst>
        </p:spPr>
      </p:pic>
      <p:sp>
        <p:nvSpPr>
          <p:cNvPr id="2" name="Footer Placeholder 2">
            <a:extLst>
              <a:ext uri="{FF2B5EF4-FFF2-40B4-BE49-F238E27FC236}">
                <a16:creationId xmlns:a16="http://schemas.microsoft.com/office/drawing/2014/main" id="{EA24E31C-2FCA-91B6-A588-BB4387963833}"/>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080753972"/>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FI" noProof="1">
                <a:solidFill>
                  <a:srgbClr val="243A5E"/>
                </a:solidFill>
              </a:rPr>
              <a:t>Use PowerShell to manage gateways</a:t>
            </a:r>
            <a:endParaRPr lang="en-US" noProof="1">
              <a:solidFill>
                <a:srgbClr val="243A5E"/>
              </a:solidFill>
            </a:endParaRPr>
          </a:p>
        </p:txBody>
      </p:sp>
      <p:sp>
        <p:nvSpPr>
          <p:cNvPr id="10" name="TextBox 9">
            <a:extLst>
              <a:ext uri="{FF2B5EF4-FFF2-40B4-BE49-F238E27FC236}">
                <a16:creationId xmlns:a16="http://schemas.microsoft.com/office/drawing/2014/main" id="{E4F20610-6F36-4C62-BD30-C7AD324DC0BE}"/>
              </a:ext>
            </a:extLst>
          </p:cNvPr>
          <p:cNvSpPr txBox="1"/>
          <p:nvPr/>
        </p:nvSpPr>
        <p:spPr>
          <a:xfrm>
            <a:off x="655638" y="1336710"/>
            <a:ext cx="8236788" cy="4555093"/>
          </a:xfrm>
          <a:prstGeom prst="rect">
            <a:avLst/>
          </a:prstGeom>
          <a:noFill/>
        </p:spPr>
        <p:txBody>
          <a:bodyPr wrap="square" lIns="91440" tIns="45720" rIns="91440" bIns="45720" anchor="t">
            <a:spAutoFit/>
          </a:bodyPr>
          <a:lstStyle/>
          <a:p>
            <a:pPr>
              <a:lnSpc>
                <a:spcPct val="100000"/>
              </a:lnSpc>
              <a:spcBef>
                <a:spcPts val="600"/>
              </a:spcBef>
              <a:spcAft>
                <a:spcPts val="600"/>
              </a:spcAft>
            </a:pPr>
            <a:r>
              <a:rPr lang="en-US" sz="2000" b="1" dirty="0"/>
              <a:t>Two scopes are supported by cmdlets:</a:t>
            </a:r>
          </a:p>
          <a:p>
            <a:pPr marL="342900" indent="-342900">
              <a:lnSpc>
                <a:spcPct val="100000"/>
              </a:lnSpc>
              <a:spcBef>
                <a:spcPts val="600"/>
              </a:spcBef>
              <a:spcAft>
                <a:spcPts val="600"/>
              </a:spcAft>
              <a:buFont typeface="Arial" panose="020B0604020202020204" pitchFamily="34" charset="0"/>
              <a:buChar char="•"/>
            </a:pPr>
            <a:r>
              <a:rPr lang="en-US" sz="2000" dirty="0"/>
              <a:t>Individual is used to access entities that belong to the current user.</a:t>
            </a:r>
          </a:p>
          <a:p>
            <a:pPr marL="342900" indent="-342900">
              <a:lnSpc>
                <a:spcPct val="100000"/>
              </a:lnSpc>
              <a:spcBef>
                <a:spcPts val="600"/>
              </a:spcBef>
              <a:spcAft>
                <a:spcPts val="600"/>
              </a:spcAft>
              <a:buFont typeface="Arial" panose="020B0604020202020204" pitchFamily="34" charset="0"/>
              <a:buChar char="•"/>
            </a:pPr>
            <a:r>
              <a:rPr lang="en-US" sz="2000" dirty="0"/>
              <a:t>Organization is used to access entities across the entire tenant. Only Power BI service admins or the O365 global admins are allowed to use this option.</a:t>
            </a:r>
            <a:endParaRPr lang="en-FI" sz="2000" dirty="0"/>
          </a:p>
          <a:p>
            <a:pPr>
              <a:lnSpc>
                <a:spcPct val="100000"/>
              </a:lnSpc>
              <a:spcBef>
                <a:spcPts val="600"/>
              </a:spcBef>
              <a:spcAft>
                <a:spcPts val="600"/>
              </a:spcAft>
            </a:pPr>
            <a:r>
              <a:rPr lang="en-FI" sz="2000" b="1" dirty="0"/>
              <a:t>Limitations:</a:t>
            </a:r>
          </a:p>
          <a:p>
            <a:pPr marL="342900" indent="-342900">
              <a:lnSpc>
                <a:spcPct val="100000"/>
              </a:lnSpc>
              <a:spcBef>
                <a:spcPts val="600"/>
              </a:spcBef>
              <a:spcAft>
                <a:spcPts val="600"/>
              </a:spcAft>
              <a:buFont typeface="Arial" panose="020B0604020202020204" pitchFamily="34" charset="0"/>
              <a:buChar char="•"/>
            </a:pPr>
            <a:r>
              <a:rPr lang="en-US" sz="2000" dirty="0"/>
              <a:t>These PowerShell scripts may not work as expected for GCC customers and hence aren't supported in GCC. </a:t>
            </a:r>
            <a:endParaRPr lang="en-FI" sz="2000" dirty="0"/>
          </a:p>
          <a:p>
            <a:pPr marL="342900" indent="-342900">
              <a:lnSpc>
                <a:spcPct val="100000"/>
              </a:lnSpc>
              <a:spcBef>
                <a:spcPts val="600"/>
              </a:spcBef>
              <a:spcAft>
                <a:spcPts val="600"/>
              </a:spcAft>
              <a:buFont typeface="Arial" panose="020B0604020202020204" pitchFamily="34" charset="0"/>
              <a:buChar char="•"/>
            </a:pPr>
            <a:r>
              <a:rPr lang="en-US" sz="2000" dirty="0"/>
              <a:t>These PowerShell scripts are also not supported for VNET gateways.</a:t>
            </a:r>
            <a:endParaRPr lang="en-FI" sz="2000" dirty="0"/>
          </a:p>
          <a:p>
            <a:pPr marL="342900" indent="-342900">
              <a:lnSpc>
                <a:spcPct val="100000"/>
              </a:lnSpc>
              <a:spcBef>
                <a:spcPts val="600"/>
              </a:spcBef>
              <a:spcAft>
                <a:spcPts val="600"/>
              </a:spcAft>
              <a:buFont typeface="Arial" panose="020B0604020202020204" pitchFamily="34" charset="0"/>
              <a:buChar char="•"/>
            </a:pPr>
            <a:endParaRPr lang="en-FI" sz="2000" dirty="0"/>
          </a:p>
          <a:p>
            <a:pPr>
              <a:lnSpc>
                <a:spcPct val="100000"/>
              </a:lnSpc>
              <a:spcBef>
                <a:spcPts val="600"/>
              </a:spcBef>
              <a:spcAft>
                <a:spcPts val="600"/>
              </a:spcAft>
            </a:pPr>
            <a:r>
              <a:rPr lang="en-FI" sz="2000" dirty="0"/>
              <a:t>Supported in </a:t>
            </a:r>
            <a:r>
              <a:rPr lang="en-US" sz="2000" dirty="0"/>
              <a:t>PowerShell 7.0.6 or higher</a:t>
            </a:r>
          </a:p>
        </p:txBody>
      </p:sp>
      <p:sp>
        <p:nvSpPr>
          <p:cNvPr id="5" name="TextBox 4">
            <a:extLst>
              <a:ext uri="{FF2B5EF4-FFF2-40B4-BE49-F238E27FC236}">
                <a16:creationId xmlns:a16="http://schemas.microsoft.com/office/drawing/2014/main" id="{C8101BE9-B1BB-D97B-6906-C9D907D78EF2}"/>
              </a:ext>
            </a:extLst>
          </p:cNvPr>
          <p:cNvSpPr txBox="1"/>
          <p:nvPr/>
        </p:nvSpPr>
        <p:spPr>
          <a:xfrm>
            <a:off x="549275" y="6176635"/>
            <a:ext cx="10987088" cy="338554"/>
          </a:xfrm>
          <a:prstGeom prst="rect">
            <a:avLst/>
          </a:prstGeom>
          <a:noFill/>
        </p:spPr>
        <p:txBody>
          <a:bodyPr wrap="square">
            <a:spAutoFit/>
          </a:bodyPr>
          <a:lstStyle/>
          <a:p>
            <a:r>
              <a:rPr lang="en-FI" sz="1600" dirty="0">
                <a:hlinkClick r:id="rId4"/>
              </a:rPr>
              <a:t>https://learn.microsoft.com/en-us/powershell/gateway/overview?view=datagateway-ps</a:t>
            </a:r>
            <a:r>
              <a:rPr lang="en-FI" sz="1600" dirty="0"/>
              <a:t> </a:t>
            </a:r>
          </a:p>
        </p:txBody>
      </p:sp>
      <p:pic>
        <p:nvPicPr>
          <p:cNvPr id="9" name="Picture 8">
            <a:extLst>
              <a:ext uri="{FF2B5EF4-FFF2-40B4-BE49-F238E27FC236}">
                <a16:creationId xmlns:a16="http://schemas.microsoft.com/office/drawing/2014/main" id="{60795566-D4CA-EFA3-D3D3-2818D9DAB907}"/>
              </a:ext>
            </a:extLst>
          </p:cNvPr>
          <p:cNvPicPr>
            <a:picLocks noChangeAspect="1"/>
          </p:cNvPicPr>
          <p:nvPr/>
        </p:nvPicPr>
        <p:blipFill>
          <a:blip r:embed="rId5"/>
          <a:stretch>
            <a:fillRect/>
          </a:stretch>
        </p:blipFill>
        <p:spPr>
          <a:xfrm>
            <a:off x="9169400" y="412337"/>
            <a:ext cx="2844800" cy="6109323"/>
          </a:xfrm>
          <a:prstGeom prst="rect">
            <a:avLst/>
          </a:prstGeom>
        </p:spPr>
      </p:pic>
      <p:sp>
        <p:nvSpPr>
          <p:cNvPr id="2" name="Footer Placeholder 2">
            <a:extLst>
              <a:ext uri="{FF2B5EF4-FFF2-40B4-BE49-F238E27FC236}">
                <a16:creationId xmlns:a16="http://schemas.microsoft.com/office/drawing/2014/main" id="{521F02C4-A55B-7A0F-A7B4-2484162C231E}"/>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989710959"/>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fld id="{8F881BB8-5469-4299-99B9-578BE3320A80}" type="slidenum">
              <a:rPr lang="en-US" smtClean="0">
                <a:solidFill>
                  <a:srgbClr val="000000"/>
                </a:solidFill>
                <a:latin typeface="Segoe UI"/>
              </a:rPr>
              <a:pPr lvl="0">
                <a:defRPr/>
              </a:pPr>
              <a:t>34</a:t>
            </a:fld>
            <a:endParaRPr lang="en-US" noProof="0"/>
          </a:p>
        </p:txBody>
      </p:sp>
    </p:spTree>
    <p:custDataLst>
      <p:tags r:id="rId1"/>
    </p:custDataLst>
    <p:extLst>
      <p:ext uri="{BB962C8B-B14F-4D97-AF65-F5344CB8AC3E}">
        <p14:creationId xmlns:p14="http://schemas.microsoft.com/office/powerpoint/2010/main" val="1731996720"/>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F7031AB-B12E-4065-A753-70742EAEF108}"/>
              </a:ext>
              <a:ext uri="{C183D7F6-B498-43B3-948B-1728B52AA6E4}">
                <adec:decorative xmlns:adec="http://schemas.microsoft.com/office/drawing/2017/decorative" val="1"/>
              </a:ext>
            </a:extLst>
          </p:cNvPr>
          <p:cNvSpPr>
            <a:spLocks/>
          </p:cNvSpPr>
          <p:nvPr/>
        </p:nvSpPr>
        <p:spPr>
          <a:xfrm>
            <a:off x="571500" y="1508338"/>
            <a:ext cx="11049000" cy="4760700"/>
          </a:xfrm>
          <a:prstGeom prst="rect">
            <a:avLst/>
          </a:prstGeom>
          <a:noFill/>
          <a:ln w="3175">
            <a:solidFill>
              <a:schemeClr val="bg1">
                <a:lumMod val="85000"/>
              </a:schemeClr>
            </a:solidFill>
          </a:ln>
        </p:spPr>
        <p:txBody>
          <a:bodyPr wrap="square" lIns="137160" tIns="768096" rIns="137160" bIns="91440" anchor="t">
            <a:noAutofit/>
          </a:bodyPr>
          <a:lstStyle/>
          <a:p>
            <a:pPr marL="230188" indent="-230188" defTabSz="914192">
              <a:spcBef>
                <a:spcPts val="300"/>
              </a:spcBef>
              <a:spcAft>
                <a:spcPts val="300"/>
              </a:spcAft>
              <a:buFont typeface="Arial" panose="020B0604020202020204" pitchFamily="34" charset="0"/>
              <a:buChar char="•"/>
              <a:defRPr/>
            </a:pPr>
            <a:endParaRPr lang="en-US" sz="1600">
              <a:cs typeface="Segoe UI Semibold" panose="020B0702040204020203" pitchFamily="34" charset="0"/>
            </a:endParaRPr>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a:xfrm>
            <a:off x="575481" y="599436"/>
            <a:ext cx="11018520" cy="461665"/>
          </a:xfrm>
        </p:spPr>
        <p:txBody>
          <a:bodyPr/>
          <a:lstStyle/>
          <a:p>
            <a:r>
              <a:rPr lang="en-US" dirty="0">
                <a:solidFill>
                  <a:srgbClr val="243A5E"/>
                </a:solidFill>
              </a:rPr>
              <a:t>Lab 1 and 2</a:t>
            </a:r>
          </a:p>
        </p:txBody>
      </p:sp>
      <p:sp>
        <p:nvSpPr>
          <p:cNvPr id="8" name="Rectangle 7">
            <a:extLst>
              <a:ext uri="{FF2B5EF4-FFF2-40B4-BE49-F238E27FC236}">
                <a16:creationId xmlns:a16="http://schemas.microsoft.com/office/drawing/2014/main" id="{D4FF7A47-CBB8-435B-B88D-A883B77A33E2}"/>
              </a:ext>
            </a:extLst>
          </p:cNvPr>
          <p:cNvSpPr>
            <a:spLocks/>
          </p:cNvSpPr>
          <p:nvPr/>
        </p:nvSpPr>
        <p:spPr>
          <a:xfrm>
            <a:off x="571499" y="1751640"/>
            <a:ext cx="11049000" cy="465121"/>
          </a:xfrm>
          <a:prstGeom prst="rect">
            <a:avLst/>
          </a:prstGeom>
          <a:solidFill>
            <a:schemeClr val="accent2"/>
          </a:solidFill>
        </p:spPr>
        <p:txBody>
          <a:bodyPr wrap="square" lIns="91440" tIns="45720" rIns="91440" bIns="45720" anchor="ctr">
            <a:noAutofit/>
          </a:bodyPr>
          <a:lstStyle/>
          <a:p>
            <a:pPr algn="ctr" defTabSz="914192">
              <a:spcAft>
                <a:spcPts val="300"/>
              </a:spcAft>
            </a:pPr>
            <a:r>
              <a:rPr lang="en-US" dirty="0">
                <a:solidFill>
                  <a:srgbClr val="FFFFFF"/>
                </a:solidFill>
                <a:latin typeface="Segoe Semibold"/>
                <a:cs typeface="Segoe UI Semibold"/>
              </a:rPr>
              <a:t>Lab Description</a:t>
            </a:r>
          </a:p>
        </p:txBody>
      </p:sp>
      <p:grpSp>
        <p:nvGrpSpPr>
          <p:cNvPr id="9" name="Group 8">
            <a:extLst>
              <a:ext uri="{FF2B5EF4-FFF2-40B4-BE49-F238E27FC236}">
                <a16:creationId xmlns:a16="http://schemas.microsoft.com/office/drawing/2014/main" id="{3FA0384F-D0CE-445D-B234-7EDD1C677A6D}"/>
              </a:ext>
              <a:ext uri="{C183D7F6-B498-43B3-948B-1728B52AA6E4}">
                <adec:decorative xmlns:adec="http://schemas.microsoft.com/office/drawing/2017/decorative" val="1"/>
              </a:ext>
            </a:extLst>
          </p:cNvPr>
          <p:cNvGrpSpPr>
            <a:grpSpLocks/>
          </p:cNvGrpSpPr>
          <p:nvPr/>
        </p:nvGrpSpPr>
        <p:grpSpPr>
          <a:xfrm>
            <a:off x="574674" y="1751640"/>
            <a:ext cx="11045826" cy="465121"/>
            <a:chOff x="574675" y="1519848"/>
            <a:chExt cx="7312025" cy="465121"/>
          </a:xfrm>
        </p:grpSpPr>
        <p:cxnSp>
          <p:nvCxnSpPr>
            <p:cNvPr id="12" name="Straight Connector 11">
              <a:extLst>
                <a:ext uri="{FF2B5EF4-FFF2-40B4-BE49-F238E27FC236}">
                  <a16:creationId xmlns:a16="http://schemas.microsoft.com/office/drawing/2014/main" id="{EA2657A6-5FF3-4E59-94B3-355886C9B57A}"/>
                </a:ext>
                <a:ext uri="{C183D7F6-B498-43B3-948B-1728B52AA6E4}">
                  <adec:decorative xmlns:adec="http://schemas.microsoft.com/office/drawing/2017/decorative" val="1"/>
                </a:ext>
              </a:extLst>
            </p:cNvPr>
            <p:cNvCxnSpPr>
              <a:cxnSpLocks/>
            </p:cNvCxnSpPr>
            <p:nvPr/>
          </p:nvCxnSpPr>
          <p:spPr>
            <a:xfrm>
              <a:off x="574675"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140C465-8DCE-4F31-8C4F-37C0F2DB8BFA}"/>
                </a:ext>
                <a:ext uri="{C183D7F6-B498-43B3-948B-1728B52AA6E4}">
                  <adec:decorative xmlns:adec="http://schemas.microsoft.com/office/drawing/2017/decorative" val="1"/>
                </a:ext>
              </a:extLst>
            </p:cNvPr>
            <p:cNvCxnSpPr>
              <a:cxnSpLocks/>
            </p:cNvCxnSpPr>
            <p:nvPr/>
          </p:nvCxnSpPr>
          <p:spPr>
            <a:xfrm>
              <a:off x="7886700" y="1519848"/>
              <a:ext cx="0" cy="465121"/>
            </a:xfrm>
            <a:prstGeom prst="line">
              <a:avLst/>
            </a:prstGeom>
            <a:ln w="28575" cap="rnd">
              <a:solidFill>
                <a:schemeClr val="accent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2044E162-68FA-4C0E-B9D3-D4C8561D02EE}"/>
              </a:ext>
            </a:extLst>
          </p:cNvPr>
          <p:cNvSpPr txBox="1">
            <a:spLocks/>
          </p:cNvSpPr>
          <p:nvPr/>
        </p:nvSpPr>
        <p:spPr>
          <a:xfrm>
            <a:off x="571500" y="2339873"/>
            <a:ext cx="11048999" cy="3669041"/>
          </a:xfrm>
          <a:prstGeom prst="rect">
            <a:avLst/>
          </a:prstGeom>
        </p:spPr>
        <p:txBody>
          <a:bodyPr wrap="square" lIns="91440" tIns="45720" rIns="91440" bIns="45720">
            <a:noAutofit/>
          </a:bodyPr>
          <a:lstStyle/>
          <a:p>
            <a:endParaRPr lang="en-US" sz="1600" dirty="0"/>
          </a:p>
          <a:p>
            <a:r>
              <a:rPr lang="en-US" sz="2400" b="1" dirty="0"/>
              <a:t>Lab 1. Install an on-premises data gateway</a:t>
            </a:r>
            <a:br>
              <a:rPr lang="en-US" sz="2400" b="1" dirty="0"/>
            </a:br>
            <a:br>
              <a:rPr lang="en-US" sz="2400" b="1" dirty="0"/>
            </a:br>
            <a:r>
              <a:rPr lang="en-US" sz="2400" b="1" dirty="0"/>
              <a:t>Lab 2. Build an app using On-premise data gateway</a:t>
            </a:r>
          </a:p>
        </p:txBody>
      </p:sp>
      <p:sp>
        <p:nvSpPr>
          <p:cNvPr id="17" name="Footer Placeholder 4">
            <a:extLst>
              <a:ext uri="{FF2B5EF4-FFF2-40B4-BE49-F238E27FC236}">
                <a16:creationId xmlns:a16="http://schemas.microsoft.com/office/drawing/2014/main" id="{E243B2FB-C5E3-4E84-87ED-FB0A2A1A0F89}"/>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Microsoft Confidential</a:t>
            </a:r>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Slide Number Placeholder 3">
            <a:extLst>
              <a:ext uri="{FF2B5EF4-FFF2-40B4-BE49-F238E27FC236}">
                <a16:creationId xmlns:a16="http://schemas.microsoft.com/office/drawing/2014/main" id="{81A9DA9D-1DBE-46E5-BC06-5CF26ACB5995}"/>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lang="en-US" smtClean="0">
                <a:solidFill>
                  <a:srgbClr val="000000"/>
                </a:solidFill>
                <a:latin typeface="Segoe UI"/>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428807029"/>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name="HIDDEN - Slide1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109420804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3688307"/>
            <a:ext cx="9996714" cy="1661993"/>
          </a:xfrm>
        </p:spPr>
        <p:txBody>
          <a:bodyPr/>
          <a:lstStyle/>
          <a:p>
            <a:pPr>
              <a:lnSpc>
                <a:spcPct val="100000"/>
              </a:lnSpc>
            </a:pPr>
            <a:r>
              <a:rPr lang="en-US" sz="5400" dirty="0"/>
              <a:t>Understand On-Premises Data Gateway</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60170628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What is On-Premise Data Gateway?</a:t>
            </a:r>
          </a:p>
        </p:txBody>
      </p:sp>
      <p:sp>
        <p:nvSpPr>
          <p:cNvPr id="3" name="Content Placeholder 2"/>
          <p:cNvSpPr>
            <a:spLocks noGrp="1"/>
          </p:cNvSpPr>
          <p:nvPr>
            <p:ph sz="quarter" idx="13"/>
            <p:custDataLst>
              <p:tags r:id="rId2"/>
            </p:custDataLst>
          </p:nvPr>
        </p:nvSpPr>
        <p:spPr>
          <a:xfrm>
            <a:off x="655638" y="1408114"/>
            <a:ext cx="6478809" cy="4819650"/>
          </a:xfrm>
        </p:spPr>
        <p:txBody>
          <a:bodyPr vert="horz" lIns="0" tIns="0" rIns="0" bIns="0" rtlCol="0" anchor="t">
            <a:normAutofit fontScale="92500" lnSpcReduction="2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0"/>
              </a:spcBef>
              <a:spcAft>
                <a:spcPts val="1200"/>
              </a:spcAft>
            </a:pPr>
            <a:r>
              <a:rPr lang="en-US" dirty="0">
                <a:cs typeface="Segoe UI"/>
              </a:rPr>
              <a:t>Acts as a bridge to provide quick and secure data transfer between on-premises data and several Microsoft cloud services</a:t>
            </a:r>
          </a:p>
          <a:p>
            <a:pPr marL="310515" indent="-310515">
              <a:spcBef>
                <a:spcPts val="0"/>
              </a:spcBef>
              <a:spcAft>
                <a:spcPts val="1200"/>
              </a:spcAft>
            </a:pPr>
            <a:r>
              <a:rPr lang="en-US" dirty="0">
                <a:cs typeface="Segoe UI"/>
              </a:rPr>
              <a:t>Includes Power BI, Power Apps, Power Automate, Azure Analysis Services, and Azure Logic Apps </a:t>
            </a:r>
            <a:endParaRPr lang="en-US" dirty="0"/>
          </a:p>
          <a:p>
            <a:pPr marL="310515" indent="-310515">
              <a:spcBef>
                <a:spcPts val="0"/>
              </a:spcBef>
              <a:spcAft>
                <a:spcPts val="1200"/>
              </a:spcAft>
            </a:pPr>
            <a:r>
              <a:rPr lang="en-US" dirty="0"/>
              <a:t>Organizations can keep databases and other data sources on their on-premises networks, yet securely use that on-premises data in cloud services.</a:t>
            </a:r>
          </a:p>
          <a:p>
            <a:pPr marL="310515" indent="-310515">
              <a:spcBef>
                <a:spcPts val="0"/>
              </a:spcBef>
              <a:spcAft>
                <a:spcPts val="1200"/>
              </a:spcAft>
            </a:pPr>
            <a:r>
              <a:rPr lang="en-US" dirty="0">
                <a:cs typeface="Segoe UI"/>
              </a:rPr>
              <a:t>Users in your organization can access on-premises data to which they already have access authorization. </a:t>
            </a:r>
            <a:endParaRPr lang="en-US" dirty="0"/>
          </a:p>
          <a:p>
            <a:pPr marL="310515" indent="-310515">
              <a:spcBef>
                <a:spcPts val="0"/>
              </a:spcBef>
              <a:spcAft>
                <a:spcPts val="1200"/>
              </a:spcAft>
            </a:pPr>
            <a:r>
              <a:rPr lang="en-US" dirty="0">
                <a:cs typeface="Segoe UI"/>
              </a:rPr>
              <a:t>Administrators will need to install and configure Gateway before users are able to connect on-premise data sources.</a:t>
            </a:r>
          </a:p>
          <a:p>
            <a:pPr marL="310515" indent="-310515"/>
            <a:endParaRPr lang="en-US" dirty="0"/>
          </a:p>
        </p:txBody>
      </p:sp>
      <p:pic>
        <p:nvPicPr>
          <p:cNvPr id="6" name="Picture 2" descr="Machine generated alternative text:&#10;Cloud &#10;On-premises data gateway &#10;On-premises data sources ">
            <a:extLst>
              <a:ext uri="{FF2B5EF4-FFF2-40B4-BE49-F238E27FC236}">
                <a16:creationId xmlns:a16="http://schemas.microsoft.com/office/drawing/2014/main" id="{7C00809F-DFBE-4BDC-831A-69115FEFCD6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80" r="1" b="1"/>
          <a:stretch/>
        </p:blipFill>
        <p:spPr bwMode="auto">
          <a:xfrm>
            <a:off x="7389662" y="1408114"/>
            <a:ext cx="4685060" cy="3368715"/>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2">
            <a:extLst>
              <a:ext uri="{FF2B5EF4-FFF2-40B4-BE49-F238E27FC236}">
                <a16:creationId xmlns:a16="http://schemas.microsoft.com/office/drawing/2014/main" id="{D78F0144-4BBF-DE88-F614-0EA626B9E1E5}"/>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91470736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Effect transition="in" filter="fade">
                                      <p:cBhvr>
                                        <p:cTn id="23" dur="500"/>
                                        <p:tgtEl>
                                          <p:spTgt spid="3">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fade">
                                      <p:cBhvr>
                                        <p:cTn id="3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Three Types of Data Gateway</a:t>
            </a:r>
          </a:p>
        </p:txBody>
      </p:sp>
      <p:sp>
        <p:nvSpPr>
          <p:cNvPr id="3" name="Content Placeholder 2"/>
          <p:cNvSpPr>
            <a:spLocks noGrp="1"/>
          </p:cNvSpPr>
          <p:nvPr>
            <p:ph sz="quarter" idx="13"/>
            <p:custDataLst>
              <p:tags r:id="rId2"/>
            </p:custDataLst>
          </p:nvPr>
        </p:nvSpPr>
        <p:spPr/>
        <p:txBody>
          <a:bodyPr vert="horz" lIns="0" tIns="0" rIns="0" bIns="0" rtlCol="0" anchor="t">
            <a:normAutofit fontScale="92500" lnSpcReduction="2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2200" b="1" dirty="0"/>
              <a:t>On-premises data gateway (standard) </a:t>
            </a:r>
          </a:p>
          <a:p>
            <a:pPr marL="310515" indent="-310515"/>
            <a:r>
              <a:rPr lang="en-US" sz="1900" dirty="0">
                <a:cs typeface="Segoe UI"/>
              </a:rPr>
              <a:t>Allows multiple users to connect to multiple on-premises data sources </a:t>
            </a:r>
            <a:endParaRPr lang="en-US" sz="1900" dirty="0"/>
          </a:p>
          <a:p>
            <a:pPr marL="310515" indent="-310515"/>
            <a:r>
              <a:rPr lang="en-US" sz="1900" dirty="0">
                <a:cs typeface="Segoe UI"/>
              </a:rPr>
              <a:t>Support all available gateway services like Power Apps and Power Automate</a:t>
            </a:r>
          </a:p>
          <a:p>
            <a:pPr marL="310515" indent="-310515"/>
            <a:r>
              <a:rPr lang="en-US" sz="1900" dirty="0">
                <a:cs typeface="Segoe UI"/>
              </a:rPr>
              <a:t>Well-suited to complex scenarios in which multiple people access multiple data sources</a:t>
            </a:r>
          </a:p>
          <a:p>
            <a:pPr marL="310515" indent="-310515"/>
            <a:endParaRPr lang="en-US" dirty="0"/>
          </a:p>
          <a:p>
            <a:pPr marL="0" indent="0">
              <a:buNone/>
            </a:pPr>
            <a:r>
              <a:rPr lang="en-US" sz="2200" b="1" dirty="0"/>
              <a:t>On-premises data gateway (personal mode)</a:t>
            </a:r>
          </a:p>
          <a:p>
            <a:pPr marL="310515" indent="-310515"/>
            <a:r>
              <a:rPr lang="en-US" sz="1900" dirty="0">
                <a:cs typeface="Segoe UI"/>
              </a:rPr>
              <a:t>Allows one user to connect to sources and can’t be shared with others. </a:t>
            </a:r>
          </a:p>
          <a:p>
            <a:r>
              <a:rPr lang="en-US" sz="1900" dirty="0">
                <a:cs typeface="Segoe UI"/>
              </a:rPr>
              <a:t>Can be used </a:t>
            </a:r>
            <a:r>
              <a:rPr lang="en-US" sz="1900" b="1" dirty="0">
                <a:cs typeface="Segoe UI"/>
              </a:rPr>
              <a:t>only</a:t>
            </a:r>
            <a:r>
              <a:rPr lang="en-US" sz="1900" dirty="0">
                <a:cs typeface="Segoe UI"/>
              </a:rPr>
              <a:t> with Power BI</a:t>
            </a:r>
          </a:p>
          <a:p>
            <a:pPr marL="310515" indent="-310515"/>
            <a:r>
              <a:rPr lang="en-US" sz="1900" dirty="0">
                <a:cs typeface="Segoe UI"/>
              </a:rPr>
              <a:t>Well-suited to scenarios in which you’re the only person who creates reports, and you don't need to share any data sources with others</a:t>
            </a:r>
          </a:p>
          <a:p>
            <a:pPr marL="310515" indent="-310515"/>
            <a:endParaRPr lang="en-US" dirty="0"/>
          </a:p>
          <a:p>
            <a:pPr marL="0" indent="0">
              <a:buNone/>
            </a:pPr>
            <a:r>
              <a:rPr lang="en-US" sz="2200" b="1" dirty="0"/>
              <a:t>Virtual network data gateway</a:t>
            </a:r>
          </a:p>
          <a:p>
            <a:pPr marL="310515" indent="-310515"/>
            <a:r>
              <a:rPr lang="en-US" sz="1900" dirty="0">
                <a:cs typeface="Segoe UI"/>
              </a:rPr>
              <a:t>Allows multiple users to connect to multiple data sources that are secured by virtual networks </a:t>
            </a:r>
            <a:endParaRPr lang="en-US" sz="1900" dirty="0"/>
          </a:p>
          <a:p>
            <a:pPr marL="310515" indent="-310515"/>
            <a:r>
              <a:rPr lang="en-US" sz="1900" dirty="0">
                <a:cs typeface="Segoe UI"/>
              </a:rPr>
              <a:t>No installation is required because it's a </a:t>
            </a:r>
            <a:r>
              <a:rPr lang="en-US" sz="1900" u="sng" dirty="0">
                <a:cs typeface="Segoe UI"/>
              </a:rPr>
              <a:t>Microsoft managed service</a:t>
            </a:r>
            <a:r>
              <a:rPr lang="en-US" sz="1900" dirty="0">
                <a:cs typeface="Segoe UI"/>
              </a:rPr>
              <a:t>. </a:t>
            </a:r>
            <a:endParaRPr lang="en-US" sz="1900" dirty="0"/>
          </a:p>
          <a:p>
            <a:pPr marL="310515" indent="-310515"/>
            <a:r>
              <a:rPr lang="en-US" sz="1900" dirty="0">
                <a:cs typeface="Segoe UI"/>
              </a:rPr>
              <a:t>Well-suited to complex scenarios in which multiple people access multiple data sources</a:t>
            </a:r>
          </a:p>
        </p:txBody>
      </p:sp>
      <p:sp>
        <p:nvSpPr>
          <p:cNvPr id="4" name="Footer Placeholder 2">
            <a:extLst>
              <a:ext uri="{FF2B5EF4-FFF2-40B4-BE49-F238E27FC236}">
                <a16:creationId xmlns:a16="http://schemas.microsoft.com/office/drawing/2014/main" id="{5A83F360-B8F1-03C0-EF04-FB03F2379DEF}"/>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17059262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animEffect transition="in" filter="fade">
                                      <p:cBhvr>
                                        <p:cTn id="35" dur="500"/>
                                        <p:tgtEl>
                                          <p:spTgt spid="3">
                                            <p:txEl>
                                              <p:pRg st="10" end="10"/>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11" end="11"/>
                                            </p:txEl>
                                          </p:spTgt>
                                        </p:tgtEl>
                                        <p:attrNameLst>
                                          <p:attrName>style.visibility</p:attrName>
                                        </p:attrNameLst>
                                      </p:cBhvr>
                                      <p:to>
                                        <p:strVal val="visible"/>
                                      </p:to>
                                    </p:set>
                                    <p:animEffect transition="in" filter="fade">
                                      <p:cBhvr>
                                        <p:cTn id="38" dur="500"/>
                                        <p:tgtEl>
                                          <p:spTgt spid="3">
                                            <p:txEl>
                                              <p:pRg st="11" end="11"/>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2" end="12"/>
                                            </p:txEl>
                                          </p:spTgt>
                                        </p:tgtEl>
                                        <p:attrNameLst>
                                          <p:attrName>style.visibility</p:attrName>
                                        </p:attrNameLst>
                                      </p:cBhvr>
                                      <p:to>
                                        <p:strVal val="visible"/>
                                      </p:to>
                                    </p:set>
                                    <p:animEffect transition="in" filter="fade">
                                      <p:cBhvr>
                                        <p:cTn id="41" dur="500"/>
                                        <p:tgtEl>
                                          <p:spTgt spid="3">
                                            <p:txEl>
                                              <p:pRg st="12" end="12"/>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3" end="13"/>
                                            </p:txEl>
                                          </p:spTgt>
                                        </p:tgtEl>
                                        <p:attrNameLst>
                                          <p:attrName>style.visibility</p:attrName>
                                        </p:attrNameLst>
                                      </p:cBhvr>
                                      <p:to>
                                        <p:strVal val="visible"/>
                                      </p:to>
                                    </p:set>
                                    <p:animEffect transition="in" filter="fade">
                                      <p:cBhvr>
                                        <p:cTn id="44"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How the gateway works?</a:t>
            </a:r>
          </a:p>
        </p:txBody>
      </p:sp>
      <p:sp>
        <p:nvSpPr>
          <p:cNvPr id="3" name="Content Placeholder 2"/>
          <p:cNvSpPr>
            <a:spLocks noGrp="1"/>
          </p:cNvSpPr>
          <p:nvPr>
            <p:ph sz="quarter" idx="13"/>
            <p:custDataLst>
              <p:tags r:id="rId2"/>
            </p:custDataLst>
          </p:nvPr>
        </p:nvSpPr>
        <p:spPr>
          <a:xfrm>
            <a:off x="655637" y="1408114"/>
            <a:ext cx="6372483"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457200" indent="-457200">
              <a:buFont typeface="+mj-lt"/>
              <a:buAutoNum type="arabicPeriod"/>
            </a:pPr>
            <a:r>
              <a:rPr lang="en-US" sz="1800" dirty="0"/>
              <a:t>The cloud service creates a query and the encrypted credentials for the on-premises data source. </a:t>
            </a:r>
          </a:p>
          <a:p>
            <a:pPr marL="457200" indent="-457200">
              <a:buFont typeface="+mj-lt"/>
              <a:buAutoNum type="arabicPeriod"/>
            </a:pPr>
            <a:r>
              <a:rPr lang="en-US" sz="1800" dirty="0"/>
              <a:t>The query and credentials are sent to the gateway queue for processing. </a:t>
            </a:r>
          </a:p>
          <a:p>
            <a:pPr marL="457200" indent="-457200">
              <a:buFont typeface="+mj-lt"/>
              <a:buAutoNum type="arabicPeriod"/>
            </a:pPr>
            <a:r>
              <a:rPr lang="en-US" sz="1800" dirty="0"/>
              <a:t>The gateway cloud service analyzes the query and pushes the request to Azure Service Bus Messaging.</a:t>
            </a:r>
          </a:p>
          <a:p>
            <a:pPr marL="457200" indent="-457200">
              <a:buFont typeface="+mj-lt"/>
              <a:buAutoNum type="arabicPeriod"/>
            </a:pPr>
            <a:r>
              <a:rPr lang="en-US" sz="1800" dirty="0"/>
              <a:t>Azure Service Bus sends the pending requests to the gateway. Both the gateway and Power BI service are implemented to only accept </a:t>
            </a:r>
            <a:r>
              <a:rPr lang="en-US" sz="1800" u="sng" dirty="0"/>
              <a:t>TLS 1.2 traffic</a:t>
            </a:r>
            <a:r>
              <a:rPr lang="en-US" sz="1800" dirty="0"/>
              <a:t>.</a:t>
            </a:r>
          </a:p>
          <a:p>
            <a:pPr marL="457200" indent="-457200">
              <a:buFont typeface="+mj-lt"/>
              <a:buAutoNum type="arabicPeriod"/>
            </a:pPr>
            <a:r>
              <a:rPr lang="en-US" sz="1800" dirty="0"/>
              <a:t>The gateway gets the query, decrypts the credentials, and connects to one or more data sources with those credentials.</a:t>
            </a:r>
          </a:p>
          <a:p>
            <a:pPr marL="457200" indent="-457200">
              <a:buFont typeface="+mj-lt"/>
              <a:buAutoNum type="arabicPeriod"/>
            </a:pPr>
            <a:r>
              <a:rPr lang="en-US" sz="1800" dirty="0"/>
              <a:t>The gateway sends the query to the data source to be run.</a:t>
            </a:r>
          </a:p>
          <a:p>
            <a:pPr marL="457200" indent="-457200">
              <a:buFont typeface="+mj-lt"/>
              <a:buAutoNum type="arabicPeriod"/>
            </a:pPr>
            <a:r>
              <a:rPr lang="en-US" sz="1800" dirty="0"/>
              <a:t>The results are sent from the data source back to the gateway and then to the cloud service.</a:t>
            </a:r>
          </a:p>
        </p:txBody>
      </p:sp>
      <p:pic>
        <p:nvPicPr>
          <p:cNvPr id="4" name="Picture 3" descr="Timeline&#10;&#10;Description automatically generated">
            <a:extLst>
              <a:ext uri="{FF2B5EF4-FFF2-40B4-BE49-F238E27FC236}">
                <a16:creationId xmlns:a16="http://schemas.microsoft.com/office/drawing/2014/main" id="{DAF4F85E-0FE7-4E7B-815F-40930D85D43D}"/>
              </a:ext>
            </a:extLst>
          </p:cNvPr>
          <p:cNvPicPr>
            <a:picLocks noChangeAspect="1"/>
          </p:cNvPicPr>
          <p:nvPr/>
        </p:nvPicPr>
        <p:blipFill>
          <a:blip r:embed="rId5"/>
          <a:stretch>
            <a:fillRect/>
          </a:stretch>
        </p:blipFill>
        <p:spPr>
          <a:xfrm>
            <a:off x="7187609" y="1408114"/>
            <a:ext cx="4896380" cy="3672286"/>
          </a:xfrm>
          <a:prstGeom prst="rect">
            <a:avLst/>
          </a:prstGeom>
        </p:spPr>
      </p:pic>
      <p:sp>
        <p:nvSpPr>
          <p:cNvPr id="5" name="Footer Placeholder 2">
            <a:extLst>
              <a:ext uri="{FF2B5EF4-FFF2-40B4-BE49-F238E27FC236}">
                <a16:creationId xmlns:a16="http://schemas.microsoft.com/office/drawing/2014/main" id="{6F1FF9EA-8DD5-C91A-1EF7-53B766220A7C}"/>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424727913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additive="base">
                                        <p:cTn id="37"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4200" y="4519303"/>
            <a:ext cx="9996714" cy="830997"/>
          </a:xfrm>
        </p:spPr>
        <p:txBody>
          <a:bodyPr/>
          <a:lstStyle/>
          <a:p>
            <a:pPr>
              <a:lnSpc>
                <a:spcPct val="100000"/>
              </a:lnSpc>
            </a:pPr>
            <a:r>
              <a:rPr lang="en-US" sz="5400" dirty="0"/>
              <a:t>Data Gateway Installation Facts</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726490411"/>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43A5E"/>
                </a:solidFill>
              </a:rPr>
              <a:t>Install an on-premises data gateway</a:t>
            </a:r>
          </a:p>
        </p:txBody>
      </p:sp>
      <p:sp>
        <p:nvSpPr>
          <p:cNvPr id="3" name="Content Placeholder 2"/>
          <p:cNvSpPr>
            <a:spLocks noGrp="1"/>
          </p:cNvSpPr>
          <p:nvPr>
            <p:ph sz="quarter" idx="13"/>
            <p:custDataLst>
              <p:tags r:id="rId2"/>
            </p:custDataLst>
          </p:nvPr>
        </p:nvSpPr>
        <p:spPr>
          <a:xfrm>
            <a:off x="655638" y="1408114"/>
            <a:ext cx="10939569" cy="4819650"/>
          </a:xfrm>
        </p:spPr>
        <p:txBody>
          <a:bodyPr vert="horz" lIns="0" tIns="0" rIns="0" bIns="0" rtlCol="0" anchor="t">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310515" indent="-310515">
              <a:spcBef>
                <a:spcPts val="0"/>
              </a:spcBef>
              <a:spcAft>
                <a:spcPts val="1200"/>
              </a:spcAft>
            </a:pPr>
            <a:r>
              <a:rPr lang="en-US" dirty="0"/>
              <a:t>Gateway is software that you install in an on-premises network. </a:t>
            </a:r>
            <a:endParaRPr lang="en-US"/>
          </a:p>
          <a:p>
            <a:pPr marL="310515" indent="-310515">
              <a:spcBef>
                <a:spcPts val="0"/>
              </a:spcBef>
              <a:spcAft>
                <a:spcPts val="1200"/>
              </a:spcAft>
            </a:pPr>
            <a:r>
              <a:rPr lang="en-US" dirty="0"/>
              <a:t>The gateway facilitates access to data in that network.</a:t>
            </a:r>
          </a:p>
          <a:p>
            <a:pPr marL="310515" indent="-310515">
              <a:spcBef>
                <a:spcPts val="0"/>
              </a:spcBef>
              <a:spcAft>
                <a:spcPts val="1200"/>
              </a:spcAft>
            </a:pPr>
            <a:r>
              <a:rPr lang="en-US" dirty="0"/>
              <a:t>As we explain in the overview, you can install a gateway either in </a:t>
            </a:r>
            <a:r>
              <a:rPr lang="en-US" u="sng" dirty="0"/>
              <a:t>personal mode</a:t>
            </a:r>
            <a:r>
              <a:rPr lang="en-US" dirty="0"/>
              <a:t>, which applies to Power BI only, or in </a:t>
            </a:r>
            <a:r>
              <a:rPr lang="en-US" u="sng" dirty="0"/>
              <a:t>standard mode</a:t>
            </a:r>
            <a:r>
              <a:rPr lang="en-US" dirty="0"/>
              <a:t>. </a:t>
            </a:r>
          </a:p>
          <a:p>
            <a:pPr marL="310515" indent="-310515">
              <a:spcBef>
                <a:spcPts val="0"/>
              </a:spcBef>
              <a:spcAft>
                <a:spcPts val="1200"/>
              </a:spcAft>
            </a:pPr>
            <a:r>
              <a:rPr lang="en-US" dirty="0">
                <a:cs typeface="Segoe UI"/>
              </a:rPr>
              <a:t>We recommend </a:t>
            </a:r>
            <a:r>
              <a:rPr lang="en-US" b="1" dirty="0">
                <a:cs typeface="Segoe UI"/>
              </a:rPr>
              <a:t>standard mode </a:t>
            </a:r>
            <a:r>
              <a:rPr lang="en-US" dirty="0">
                <a:cs typeface="Segoe UI"/>
              </a:rPr>
              <a:t>as in that mode you can add a gateway to a cluster of gateways, which we recommend for high availability and performance.</a:t>
            </a:r>
            <a:endParaRPr lang="en-US" dirty="0"/>
          </a:p>
          <a:p>
            <a:pPr marL="310515" indent="-310515"/>
            <a:endParaRPr lang="en-US" dirty="0"/>
          </a:p>
        </p:txBody>
      </p:sp>
      <p:sp>
        <p:nvSpPr>
          <p:cNvPr id="4" name="Footer Placeholder 2">
            <a:extLst>
              <a:ext uri="{FF2B5EF4-FFF2-40B4-BE49-F238E27FC236}">
                <a16:creationId xmlns:a16="http://schemas.microsoft.com/office/drawing/2014/main" id="{A9BB8E49-E3A1-30AC-7DA5-AEA89044A576}"/>
              </a:ext>
            </a:extLst>
          </p:cNvPr>
          <p:cNvSpPr txBox="1">
            <a:spLocks/>
          </p:cNvSpPr>
          <p:nvPr/>
        </p:nvSpPr>
        <p:spPr>
          <a:xfrm>
            <a:off x="4038600" y="6539518"/>
            <a:ext cx="4114800" cy="123111"/>
          </a:xfrm>
          <a:prstGeom prst="rect">
            <a:avLst/>
          </a:prstGeom>
        </p:spPr>
        <p:txBody>
          <a:bodyPr vert="horz"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Segoe UI"/>
              </a:rPr>
              <a:t>Microsoft Confidential</a:t>
            </a:r>
            <a:endParaRPr lang="en-US" dirty="0">
              <a:solidFill>
                <a:srgbClr val="000000"/>
              </a:solidFill>
              <a:latin typeface="Segoe UI"/>
            </a:endParaRPr>
          </a:p>
        </p:txBody>
      </p:sp>
    </p:spTree>
    <p:custDataLst>
      <p:tags r:id="rId1"/>
    </p:custDataLst>
    <p:extLst>
      <p:ext uri="{BB962C8B-B14F-4D97-AF65-F5344CB8AC3E}">
        <p14:creationId xmlns:p14="http://schemas.microsoft.com/office/powerpoint/2010/main" val="385645487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37064166-1785-404d-8156-350ee872403d"/>
  <p:tag name="MIO_UPDATE" val="True"/>
  <p:tag name="MIO_VERSION" val="30.03.2020 15:44:05"/>
  <p:tag name="MIO_DBID" val="12b0c59e-2253-4124-a5e9-470adf4cb168"/>
  <p:tag name="MIO_LASTDOWNLOADED" val="30.03.2020 15:44:52"/>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3.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7.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77499e9a-31aa-40e0-aa71-ba32caef6098"/>
  <p:tag name="MIO_EKGUID" val="dadf7f33-1b3b-444f-82e3-91528bb138ab"/>
  <p:tag name="MIO_UPDATE" val="True"/>
  <p:tag name="MIO_VERSION" val="30.03.2020 15:44:05"/>
  <p:tag name="MIO_DBID" val="12b0c59e-2253-4124-a5e9-470adf4cb168"/>
  <p:tag name="MIO_LASTDOWNLOADED" val="30.03.2020 15:44:51"/>
  <p:tag name="MIO_OBJECTNAME" val="Title"/>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49620678-51bf-43f9-9090-c87048a425b9"/>
  <p:tag name="MIO_UPDATE" val="True"/>
  <p:tag name="MIO_VERSION" val="30.03.2020 15:44:06"/>
  <p:tag name="MIO_DBID" val="12b0c59e-2253-4124-a5e9-470adf4cb168"/>
  <p:tag name="MIO_LASTDOWNLOADED" val="30.03.2020 15:44:52"/>
  <p:tag name="MIO_OBJECTNAME" val="Lab Name"/>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1e5e1ebb-e8bf-4fba-87f5-5fca36bd0235"/>
  <p:tag name="MIO_EKGUID" val="4a7276aa-f0e9-4ef0-ad73-7465bc58870f"/>
  <p:tag name="MIO_UPDATE" val="True"/>
  <p:tag name="MIO_VERSION" val="30.03.2020 15:44:06"/>
  <p:tag name="MIO_DBID" val="12b0c59e-2253-4124-a5e9-470adf4cb168"/>
  <p:tag name="MIO_LASTDOWNLOADED" val="30.03.2020 15:44:52"/>
  <p:tag name="MIO_OBJECTNAME" val="Microsoft"/>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55a10cb0-526b-427f-b329-564b9d813585"/>
  <p:tag name="MIO_EKGUID" val="16198fbd-a8ef-4b10-90b5-600ff933c912"/>
  <p:tag name="MIO_UPDATE" val="True"/>
  <p:tag name="MIO_VERSION" val="30.03.2020 15:44:05"/>
  <p:tag name="MIO_DBID" val="12b0c59e-2253-4124-a5e9-470adf4cb168"/>
  <p:tag name="MIO_LASTDOWNLOADED" val="30.03.2020 15:44:51"/>
  <p:tag name="MIO_OBJECTNAME" val="Disclaimer"/>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0.xml><?xml version="1.0" encoding="utf-8"?>
<?mso-contentType ?>
<FormTemplates xmlns="http://schemas.microsoft.com/sharepoint/v3/contenttype/forms">
  <Display>DocumentLibraryForm</Display>
  <Edit>DocumentLibraryForm</Edit>
  <New>DocumentLibraryForm</New>
</FormTemplates>
</file>

<file path=customXml/item3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febbbb0-d9c1-42a4-ad3a-6634c725d137" xsi:nil="true"/>
    <metadata xmlns="afebbbb0-d9c1-42a4-ad3a-6634c725d137" xsi:nil="true"/>
    <asdtitle xmlns="afebbbb0-d9c1-42a4-ad3a-6634c725d137" xsi:nil="true"/>
    <asdstatus xmlns="afebbbb0-d9c1-42a4-ad3a-6634c725d137" xsi:nil="true"/>
    <blutitle xmlns="afebbbb0-d9c1-42a4-ad3a-6634c725d137" xsi:nil="true"/>
  </documentManagement>
</p:properties>
</file>

<file path=customXml/item3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4.xml><?xml version="1.0" encoding="utf-8"?>
<ct:contentTypeSchema xmlns:ct="http://schemas.microsoft.com/office/2006/metadata/contentType" xmlns:ma="http://schemas.microsoft.com/office/2006/metadata/properties/metaAttributes" ct:_="" ma:_="" ma:contentTypeName="Document" ma:contentTypeID="0x010100D894FC83E0D2D145AC061E7B85D76DFA" ma:contentTypeVersion="20" ma:contentTypeDescription="Create a new document." ma:contentTypeScope="" ma:versionID="55a9d016e4b286c3fb8a4c07d000314a">
  <xsd:schema xmlns:xsd="http://www.w3.org/2001/XMLSchema" xmlns:xs="http://www.w3.org/2001/XMLSchema" xmlns:p="http://schemas.microsoft.com/office/2006/metadata/properties" xmlns:ns1="http://schemas.microsoft.com/sharepoint/v3" xmlns:ns2="afebbbb0-d9c1-42a4-ad3a-6634c725d137" xmlns:ns3="1e6b662e-9b08-4ccb-b10c-95b38e0268e8" targetNamespace="http://schemas.microsoft.com/office/2006/metadata/properties" ma:root="true" ma:fieldsID="275ba43f72ef7d8a830dae7c22c43d3e" ns1:_="" ns2:_="" ns3:_="">
    <xsd:import namespace="http://schemas.microsoft.com/sharepoint/v3"/>
    <xsd:import namespace="afebbbb0-d9c1-42a4-ad3a-6634c725d137"/>
    <xsd:import namespace="1e6b662e-9b08-4ccb-b10c-95b38e0268e8"/>
    <xsd:element name="properties">
      <xsd:complexType>
        <xsd:sequence>
          <xsd:element name="documentManagement">
            <xsd:complexType>
              <xsd:all>
                <xsd:element ref="ns2:asdstatus" minOccurs="0"/>
                <xsd:element ref="ns2:asdtitle" minOccurs="0"/>
                <xsd:element ref="ns2:blutitle" minOccurs="0"/>
                <xsd:element ref="ns2:metadata"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ebbbb0-d9c1-42a4-ad3a-6634c725d137" elementFormDefault="qualified">
    <xsd:import namespace="http://schemas.microsoft.com/office/2006/documentManagement/types"/>
    <xsd:import namespace="http://schemas.microsoft.com/office/infopath/2007/PartnerControls"/>
    <xsd:element name="asdstatus" ma:index="8" nillable="true" ma:displayName="ASD Status" ma:internalName="asdstatus">
      <xsd:simpleType>
        <xsd:restriction base="dms:Choice">
          <xsd:enumeration value="ASD Pending"/>
          <xsd:enumeration value="ASD Complete"/>
          <xsd:enumeration value="ASD Rejected"/>
        </xsd:restriction>
      </xsd:simpleType>
    </xsd:element>
    <xsd:element name="asdtitle" ma:index="9" nillable="true" ma:displayName="ASD Title" ma:internalName="asdtitle">
      <xsd:simpleType>
        <xsd:restriction base="dms:Text"/>
      </xsd:simpleType>
    </xsd:element>
    <xsd:element name="blutitle" ma:index="10" nillable="true" ma:displayName="BLU Title" ma:internalName="blutitle">
      <xsd:simpleType>
        <xsd:restriction base="dms:Text"/>
      </xsd:simpleType>
    </xsd:element>
    <xsd:element name="metadata" ma:index="11" nillable="true" ma:displayName="Metadata" ma:internalName="metadata">
      <xsd:simpleType>
        <xsd:restriction base="dms:Note">
          <xsd:maxLength value="25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6b662e-9b08-4ccb-b10c-95b38e0268e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2.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FC25CD5D-A9DA-407F-9106-47BDA14BCED9}">
  <ds:schemaRefs>
    <ds:schemaRef ds:uri="Strauss.PersonalizationDefinition"/>
  </ds:schemaRefs>
</ds:datastoreItem>
</file>

<file path=customXml/itemProps10.xml><?xml version="1.0" encoding="utf-8"?>
<ds:datastoreItem xmlns:ds="http://schemas.openxmlformats.org/officeDocument/2006/customXml" ds:itemID="{2BCFCE7B-4A43-491B-887D-365E2A1C50B2}">
  <ds:schemaRefs>
    <ds:schemaRef ds:uri="Strauss.PersonalizationDefinition"/>
  </ds:schemaRefs>
</ds:datastoreItem>
</file>

<file path=customXml/itemProps11.xml><?xml version="1.0" encoding="utf-8"?>
<ds:datastoreItem xmlns:ds="http://schemas.openxmlformats.org/officeDocument/2006/customXml" ds:itemID="{B09E3EAE-66CA-4A91-A5FE-A34A70B099ED}">
  <ds:schemaRefs>
    <ds:schemaRef ds:uri="Strauss.PersonalizationDefinition"/>
  </ds:schemaRefs>
</ds:datastoreItem>
</file>

<file path=customXml/itemProps12.xml><?xml version="1.0" encoding="utf-8"?>
<ds:datastoreItem xmlns:ds="http://schemas.openxmlformats.org/officeDocument/2006/customXml" ds:itemID="{FBC13881-F2DC-4AA3-88C8-97C40CA1EBC7}">
  <ds:schemaRefs>
    <ds:schemaRef ds:uri="Strauss.PersonalizationDefinition"/>
  </ds:schemaRefs>
</ds:datastoreItem>
</file>

<file path=customXml/itemProps13.xml><?xml version="1.0" encoding="utf-8"?>
<ds:datastoreItem xmlns:ds="http://schemas.openxmlformats.org/officeDocument/2006/customXml" ds:itemID="{C1060A51-5976-4775-97EE-ABE1B1E4972A}">
  <ds:schemaRefs>
    <ds:schemaRef ds:uri="Strauss.PersonalizationDefinition"/>
  </ds:schemaRefs>
</ds:datastoreItem>
</file>

<file path=customXml/itemProps14.xml><?xml version="1.0" encoding="utf-8"?>
<ds:datastoreItem xmlns:ds="http://schemas.openxmlformats.org/officeDocument/2006/customXml" ds:itemID="{DE0DC7DC-A960-4E6E-BF1B-D3D906B081A2}">
  <ds:schemaRefs>
    <ds:schemaRef ds:uri="Strauss.PersonalizationDefinition"/>
  </ds:schemaRefs>
</ds:datastoreItem>
</file>

<file path=customXml/itemProps15.xml><?xml version="1.0" encoding="utf-8"?>
<ds:datastoreItem xmlns:ds="http://schemas.openxmlformats.org/officeDocument/2006/customXml" ds:itemID="{E7EBEF02-C69B-46E0-B38A-E51611CE5254}">
  <ds:schemaRefs>
    <ds:schemaRef ds:uri="Strauss.PersonalizationDefinition"/>
  </ds:schemaRefs>
</ds:datastoreItem>
</file>

<file path=customXml/itemProps16.xml><?xml version="1.0" encoding="utf-8"?>
<ds:datastoreItem xmlns:ds="http://schemas.openxmlformats.org/officeDocument/2006/customXml" ds:itemID="{13A5538B-5199-4900-941A-B01E377F2065}">
  <ds:schemaRefs>
    <ds:schemaRef ds:uri="Strauss.PersonalizationDefinition"/>
  </ds:schemaRefs>
</ds:datastoreItem>
</file>

<file path=customXml/itemProps17.xml><?xml version="1.0" encoding="utf-8"?>
<ds:datastoreItem xmlns:ds="http://schemas.openxmlformats.org/officeDocument/2006/customXml" ds:itemID="{BC268A45-186B-46A3-937F-0E016CEA70C1}">
  <ds:schemaRefs>
    <ds:schemaRef ds:uri="Strauss.PersonalizationDefinition"/>
  </ds:schemaRefs>
</ds:datastoreItem>
</file>

<file path=customXml/itemProps18.xml><?xml version="1.0" encoding="utf-8"?>
<ds:datastoreItem xmlns:ds="http://schemas.openxmlformats.org/officeDocument/2006/customXml" ds:itemID="{541D4602-AC17-4CBD-B95E-D5B3D757BC54}">
  <ds:schemaRefs>
    <ds:schemaRef ds:uri="Strauss.PersonalizationDefinition"/>
  </ds:schemaRefs>
</ds:datastoreItem>
</file>

<file path=customXml/itemProps19.xml><?xml version="1.0" encoding="utf-8"?>
<ds:datastoreItem xmlns:ds="http://schemas.openxmlformats.org/officeDocument/2006/customXml" ds:itemID="{DF333A1B-0A9C-4DA8-ADAB-4378B69FDC48}">
  <ds:schemaRefs>
    <ds:schemaRef ds:uri="Strauss.PersonalizationDefinition"/>
  </ds:schemaRefs>
</ds:datastoreItem>
</file>

<file path=customXml/itemProps2.xml><?xml version="1.0" encoding="utf-8"?>
<ds:datastoreItem xmlns:ds="http://schemas.openxmlformats.org/officeDocument/2006/customXml" ds:itemID="{4A3F169F-E27D-4A25-888C-4C5D83BAC082}">
  <ds:schemaRefs>
    <ds:schemaRef ds:uri="Strauss.PersonalizationDefinition"/>
  </ds:schemaRefs>
</ds:datastoreItem>
</file>

<file path=customXml/itemProps20.xml><?xml version="1.0" encoding="utf-8"?>
<ds:datastoreItem xmlns:ds="http://schemas.openxmlformats.org/officeDocument/2006/customXml" ds:itemID="{ECCE7DC3-F525-4E76-8812-56FCA2D21E50}">
  <ds:schemaRefs>
    <ds:schemaRef ds:uri="Strauss.PersonalizationDefinition"/>
  </ds:schemaRefs>
</ds:datastoreItem>
</file>

<file path=customXml/itemProps21.xml><?xml version="1.0" encoding="utf-8"?>
<ds:datastoreItem xmlns:ds="http://schemas.openxmlformats.org/officeDocument/2006/customXml" ds:itemID="{103AB8E4-C30A-4895-9606-8D77F2E70F19}">
  <ds:schemaRefs>
    <ds:schemaRef ds:uri="Strauss.PersonalizationDefinition"/>
  </ds:schemaRefs>
</ds:datastoreItem>
</file>

<file path=customXml/itemProps22.xml><?xml version="1.0" encoding="utf-8"?>
<ds:datastoreItem xmlns:ds="http://schemas.openxmlformats.org/officeDocument/2006/customXml" ds:itemID="{F56EB5D8-3CD5-48EE-9536-13CF2B9AC25D}">
  <ds:schemaRefs>
    <ds:schemaRef ds:uri="Strauss.PersonalizationDefinition"/>
  </ds:schemaRefs>
</ds:datastoreItem>
</file>

<file path=customXml/itemProps23.xml><?xml version="1.0" encoding="utf-8"?>
<ds:datastoreItem xmlns:ds="http://schemas.openxmlformats.org/officeDocument/2006/customXml" ds:itemID="{6552B3D2-5F72-49FB-8B35-AFE12BF36804}">
  <ds:schemaRefs>
    <ds:schemaRef ds:uri="Strauss.PersonalizationDefinition"/>
  </ds:schemaRefs>
</ds:datastoreItem>
</file>

<file path=customXml/itemProps24.xml><?xml version="1.0" encoding="utf-8"?>
<ds:datastoreItem xmlns:ds="http://schemas.openxmlformats.org/officeDocument/2006/customXml" ds:itemID="{406127A5-B8F7-4F8A-95A9-8E20F72EA129}">
  <ds:schemaRefs>
    <ds:schemaRef ds:uri="Strauss.PersonalizationDefinition"/>
  </ds:schemaRefs>
</ds:datastoreItem>
</file>

<file path=customXml/itemProps25.xml><?xml version="1.0" encoding="utf-8"?>
<ds:datastoreItem xmlns:ds="http://schemas.openxmlformats.org/officeDocument/2006/customXml" ds:itemID="{712108F3-86F2-4B95-AF2D-FE4E45965FCC}">
  <ds:schemaRefs>
    <ds:schemaRef ds:uri="Strauss.PersonalizationDefinition"/>
  </ds:schemaRefs>
</ds:datastoreItem>
</file>

<file path=customXml/itemProps26.xml><?xml version="1.0" encoding="utf-8"?>
<ds:datastoreItem xmlns:ds="http://schemas.openxmlformats.org/officeDocument/2006/customXml" ds:itemID="{B228D3F7-8445-4CE7-92DC-AC7FE2D5A2AF}">
  <ds:schemaRefs>
    <ds:schemaRef ds:uri="Strauss.PersonalizationDefinition"/>
  </ds:schemaRefs>
</ds:datastoreItem>
</file>

<file path=customXml/itemProps27.xml><?xml version="1.0" encoding="utf-8"?>
<ds:datastoreItem xmlns:ds="http://schemas.openxmlformats.org/officeDocument/2006/customXml" ds:itemID="{4EA01338-72BB-48B6-B6A4-05B31FE21105}">
  <ds:schemaRefs>
    <ds:schemaRef ds:uri="Strauss.PersonalizationDefinition"/>
  </ds:schemaRefs>
</ds:datastoreItem>
</file>

<file path=customXml/itemProps28.xml><?xml version="1.0" encoding="utf-8"?>
<ds:datastoreItem xmlns:ds="http://schemas.openxmlformats.org/officeDocument/2006/customXml" ds:itemID="{D7FDC28F-4CBD-40ED-9D33-0A1360D5DEC4}">
  <ds:schemaRefs>
    <ds:schemaRef ds:uri="Strauss.PersonalizationDefinition"/>
  </ds:schemaRefs>
</ds:datastoreItem>
</file>

<file path=customXml/itemProps29.xml><?xml version="1.0" encoding="utf-8"?>
<ds:datastoreItem xmlns:ds="http://schemas.openxmlformats.org/officeDocument/2006/customXml" ds:itemID="{734F6CED-B619-41E0-BEDE-58B64D5F5EB2}">
  <ds:schemaRefs>
    <ds:schemaRef ds:uri="Strauss.PersonalizationDefinition"/>
  </ds:schemaRefs>
</ds:datastoreItem>
</file>

<file path=customXml/itemProps3.xml><?xml version="1.0" encoding="utf-8"?>
<ds:datastoreItem xmlns:ds="http://schemas.openxmlformats.org/officeDocument/2006/customXml" ds:itemID="{82C716E8-B770-4139-99B0-F35B9C64B90F}">
  <ds:schemaRefs>
    <ds:schemaRef ds:uri="Strauss.PersonalizationDefinition"/>
  </ds:schemaRefs>
</ds:datastoreItem>
</file>

<file path=customXml/itemProps30.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31.xml><?xml version="1.0" encoding="utf-8"?>
<ds:datastoreItem xmlns:ds="http://schemas.openxmlformats.org/officeDocument/2006/customXml" ds:itemID="{08068EAD-DA6C-4DC8-843E-9CB0982D15F3}">
  <ds:schemaRefs>
    <ds:schemaRef ds:uri="Strauss.PersonalizationDefinition"/>
  </ds:schemaRefs>
</ds:datastoreItem>
</file>

<file path=customXml/itemProps32.xml><?xml version="1.0" encoding="utf-8"?>
<ds:datastoreItem xmlns:ds="http://schemas.openxmlformats.org/officeDocument/2006/customXml" ds:itemID="{AC7687D8-5695-4F99-A8BA-1D247B418C22}">
  <ds:schemaRefs>
    <ds:schemaRef ds:uri="http://purl.org/dc/dcmitype/"/>
    <ds:schemaRef ds:uri="http://schemas.microsoft.com/office/2006/metadata/properties"/>
    <ds:schemaRef ds:uri="http://www.w3.org/XML/1998/namespace"/>
    <ds:schemaRef ds:uri="http://schemas.microsoft.com/office/2006/documentManagement/types"/>
    <ds:schemaRef ds:uri="1e6b662e-9b08-4ccb-b10c-95b38e0268e8"/>
    <ds:schemaRef ds:uri="http://schemas.microsoft.com/office/infopath/2007/PartnerControls"/>
    <ds:schemaRef ds:uri="afebbbb0-d9c1-42a4-ad3a-6634c725d137"/>
    <ds:schemaRef ds:uri="http://purl.org/dc/terms/"/>
    <ds:schemaRef ds:uri="http://schemas.openxmlformats.org/package/2006/metadata/core-properties"/>
    <ds:schemaRef ds:uri="http://schemas.microsoft.com/sharepoint/v3"/>
    <ds:schemaRef ds:uri="http://purl.org/dc/elements/1.1/"/>
    <ds:schemaRef ds:uri="13ed5b9d-4ee2-45de-9ef9-3f42f8acbc62"/>
  </ds:schemaRefs>
</ds:datastoreItem>
</file>

<file path=customXml/itemProps33.xml><?xml version="1.0" encoding="utf-8"?>
<ds:datastoreItem xmlns:ds="http://schemas.openxmlformats.org/officeDocument/2006/customXml" ds:itemID="{68BE9F8F-073F-46B7-B2D0-86DC8E2E9DCE}">
  <ds:schemaRefs>
    <ds:schemaRef ds:uri="Strauss.PersonalizationDefinition"/>
  </ds:schemaRefs>
</ds:datastoreItem>
</file>

<file path=customXml/itemProps34.xml><?xml version="1.0" encoding="utf-8"?>
<ds:datastoreItem xmlns:ds="http://schemas.openxmlformats.org/officeDocument/2006/customXml" ds:itemID="{D55AC15F-0A03-4D96-AA43-65FC3DCE2717}">
  <ds:schemaRefs>
    <ds:schemaRef ds:uri="Strauss.PersonalizationDefinition"/>
  </ds:schemaRefs>
</ds:datastoreItem>
</file>

<file path=customXml/itemProps35.xml><?xml version="1.0" encoding="utf-8"?>
<ds:datastoreItem xmlns:ds="http://schemas.openxmlformats.org/officeDocument/2006/customXml" ds:itemID="{4C485A9E-99A8-4277-BE90-E837A967DB2E}">
  <ds:schemaRefs>
    <ds:schemaRef ds:uri="Strauss.PersonalizationDefinition"/>
  </ds:schemaRefs>
</ds:datastoreItem>
</file>

<file path=customXml/itemProps36.xml><?xml version="1.0" encoding="utf-8"?>
<ds:datastoreItem xmlns:ds="http://schemas.openxmlformats.org/officeDocument/2006/customXml" ds:itemID="{628127A0-F2C3-45C3-BB9F-5B29A6B848BE}">
  <ds:schemaRefs>
    <ds:schemaRef ds:uri="Strauss.PersonalizationDefinition"/>
  </ds:schemaRefs>
</ds:datastoreItem>
</file>

<file path=customXml/itemProps37.xml><?xml version="1.0" encoding="utf-8"?>
<ds:datastoreItem xmlns:ds="http://schemas.openxmlformats.org/officeDocument/2006/customXml" ds:itemID="{32920470-F086-4197-B6FE-12027DE25DCC}">
  <ds:schemaRefs>
    <ds:schemaRef ds:uri="Strauss.PersonalizationDefinition"/>
  </ds:schemaRefs>
</ds:datastoreItem>
</file>

<file path=customXml/itemProps38.xml><?xml version="1.0" encoding="utf-8"?>
<ds:datastoreItem xmlns:ds="http://schemas.openxmlformats.org/officeDocument/2006/customXml" ds:itemID="{7BE5F28F-50CA-40F1-A02E-E794FE33362D}">
  <ds:schemaRefs>
    <ds:schemaRef ds:uri="Strauss.PersonalizationDefinition"/>
  </ds:schemaRefs>
</ds:datastoreItem>
</file>

<file path=customXml/itemProps39.xml><?xml version="1.0" encoding="utf-8"?>
<ds:datastoreItem xmlns:ds="http://schemas.openxmlformats.org/officeDocument/2006/customXml" ds:itemID="{92C27BF9-6042-4A64-97C5-4D309EE5CA70}">
  <ds:schemaRefs>
    <ds:schemaRef ds:uri="Strauss.PersonalizationDefinition"/>
  </ds:schemaRefs>
</ds:datastoreItem>
</file>

<file path=customXml/itemProps4.xml><?xml version="1.0" encoding="utf-8"?>
<ds:datastoreItem xmlns:ds="http://schemas.openxmlformats.org/officeDocument/2006/customXml" ds:itemID="{1D42C8FE-8F46-4F64-930B-BCB99938E2DA}"/>
</file>

<file path=customXml/itemProps40.xml><?xml version="1.0" encoding="utf-8"?>
<ds:datastoreItem xmlns:ds="http://schemas.openxmlformats.org/officeDocument/2006/customXml" ds:itemID="{46522A59-B026-4350-BB1A-BEB05240770F}">
  <ds:schemaRefs>
    <ds:schemaRef ds:uri="Strauss.PersonalizationDefinition"/>
  </ds:schemaRefs>
</ds:datastoreItem>
</file>

<file path=customXml/itemProps41.xml><?xml version="1.0" encoding="utf-8"?>
<ds:datastoreItem xmlns:ds="http://schemas.openxmlformats.org/officeDocument/2006/customXml" ds:itemID="{265D1628-D09F-42C9-B121-52530D5BAC57}">
  <ds:schemaRefs>
    <ds:schemaRef ds:uri="Strauss.PersonalizationDefinition"/>
  </ds:schemaRefs>
</ds:datastoreItem>
</file>

<file path=customXml/itemProps42.xml><?xml version="1.0" encoding="utf-8"?>
<ds:datastoreItem xmlns:ds="http://schemas.openxmlformats.org/officeDocument/2006/customXml" ds:itemID="{C557EA75-9612-4993-AC10-2F45D986E4F9}">
  <ds:schemaRefs>
    <ds:schemaRef ds:uri="Strauss.PersonalizationDefinition"/>
  </ds:schemaRefs>
</ds:datastoreItem>
</file>

<file path=customXml/itemProps43.xml><?xml version="1.0" encoding="utf-8"?>
<ds:datastoreItem xmlns:ds="http://schemas.openxmlformats.org/officeDocument/2006/customXml" ds:itemID="{23EC727F-2E05-45FB-A0F6-DAADF21B182D}">
  <ds:schemaRefs>
    <ds:schemaRef ds:uri="Strauss.PersonalizationDefinition"/>
  </ds:schemaRefs>
</ds:datastoreItem>
</file>

<file path=customXml/itemProps44.xml><?xml version="1.0" encoding="utf-8"?>
<ds:datastoreItem xmlns:ds="http://schemas.openxmlformats.org/officeDocument/2006/customXml" ds:itemID="{473209DF-B4B1-4250-AA6A-6460ACBECD15}">
  <ds:schemaRefs>
    <ds:schemaRef ds:uri="Strauss.PersonalizationDefinition"/>
  </ds:schemaRefs>
</ds:datastoreItem>
</file>

<file path=customXml/itemProps5.xml><?xml version="1.0" encoding="utf-8"?>
<ds:datastoreItem xmlns:ds="http://schemas.openxmlformats.org/officeDocument/2006/customXml" ds:itemID="{6F485757-9F3C-4A1E-9E86-E1C1551910BA}">
  <ds:schemaRefs>
    <ds:schemaRef ds:uri="Strauss.PersonalizationDefinition"/>
  </ds:schemaRefs>
</ds:datastoreItem>
</file>

<file path=customXml/itemProps6.xml><?xml version="1.0" encoding="utf-8"?>
<ds:datastoreItem xmlns:ds="http://schemas.openxmlformats.org/officeDocument/2006/customXml" ds:itemID="{EDFBA6C8-3A38-44F0-B645-B6B0034983DA}">
  <ds:schemaRefs>
    <ds:schemaRef ds:uri="Strauss.PersonalizationDefinition"/>
  </ds:schemaRefs>
</ds:datastoreItem>
</file>

<file path=customXml/itemProps7.xml><?xml version="1.0" encoding="utf-8"?>
<ds:datastoreItem xmlns:ds="http://schemas.openxmlformats.org/officeDocument/2006/customXml" ds:itemID="{A09B3D8F-A36C-4B6D-871D-C53F61DFD219}">
  <ds:schemaRefs>
    <ds:schemaRef ds:uri="Strauss.PersonalizationDefinition"/>
  </ds:schemaRefs>
</ds:datastoreItem>
</file>

<file path=customXml/itemProps8.xml><?xml version="1.0" encoding="utf-8"?>
<ds:datastoreItem xmlns:ds="http://schemas.openxmlformats.org/officeDocument/2006/customXml" ds:itemID="{5C919DC8-E31E-42F0-9621-B916C2E029BA}">
  <ds:schemaRefs>
    <ds:schemaRef ds:uri="Strauss.PersonalizationDefinition"/>
  </ds:schemaRefs>
</ds:datastoreItem>
</file>

<file path=customXml/itemProps9.xml><?xml version="1.0" encoding="utf-8"?>
<ds:datastoreItem xmlns:ds="http://schemas.openxmlformats.org/officeDocument/2006/customXml" ds:itemID="{EF4AA5EB-A638-4D3A-B852-E71E18ED4953}">
  <ds:schemaRefs>
    <ds:schemaRef ds:uri="Strauss.PersonalizationDefinition"/>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1898</TotalTime>
  <Words>2860</Words>
  <Application>Microsoft Office PowerPoint</Application>
  <PresentationFormat>Widescreen</PresentationFormat>
  <Paragraphs>324</Paragraphs>
  <Slides>36</Slides>
  <Notes>36</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6</vt:i4>
      </vt:variant>
    </vt:vector>
  </HeadingPairs>
  <TitlesOfParts>
    <vt:vector size="48" baseType="lpstr">
      <vt:lpstr>&amp;quot</vt:lpstr>
      <vt:lpstr>Arial</vt:lpstr>
      <vt:lpstr>Calibri</vt:lpstr>
      <vt:lpstr>Calibri Light</vt:lpstr>
      <vt:lpstr>Comic Sans MS</vt:lpstr>
      <vt:lpstr>Consolas</vt:lpstr>
      <vt:lpstr>Segoe Semibold</vt:lpstr>
      <vt:lpstr>Segoe UI</vt:lpstr>
      <vt:lpstr>Segoe UI Light</vt:lpstr>
      <vt:lpstr>Segoe UI Semibold</vt:lpstr>
      <vt:lpstr>Wingdings</vt:lpstr>
      <vt:lpstr>Dark Blue</vt:lpstr>
      <vt:lpstr>WorkshopPLUS   Power Platform for Administrators</vt:lpstr>
      <vt:lpstr>Conditions and terms of use</vt:lpstr>
      <vt:lpstr>Objectives  </vt:lpstr>
      <vt:lpstr>Understand On-Premises Data Gateway</vt:lpstr>
      <vt:lpstr>What is On-Premise Data Gateway?</vt:lpstr>
      <vt:lpstr>Three Types of Data Gateway</vt:lpstr>
      <vt:lpstr>How the gateway works?</vt:lpstr>
      <vt:lpstr>Data Gateway Installation Facts</vt:lpstr>
      <vt:lpstr>Install an on-premises data gateway</vt:lpstr>
      <vt:lpstr>Install an on-premises data gateway</vt:lpstr>
      <vt:lpstr>General Considerations for installation</vt:lpstr>
      <vt:lpstr>Demonstration </vt:lpstr>
      <vt:lpstr>Data Gateway App Features</vt:lpstr>
      <vt:lpstr>Data Gateway App Features</vt:lpstr>
      <vt:lpstr>Data Gateway App Features</vt:lpstr>
      <vt:lpstr>Data Gateway App Features</vt:lpstr>
      <vt:lpstr>Data Gateway App Features</vt:lpstr>
      <vt:lpstr>Data Gateway App Features</vt:lpstr>
      <vt:lpstr>Data Gateway App Features</vt:lpstr>
      <vt:lpstr>Managing Data Gateways</vt:lpstr>
      <vt:lpstr>Manage Data Gateways in Power Platform Admin Center</vt:lpstr>
      <vt:lpstr>Manage Data Gateways in Power Platform Admin Center</vt:lpstr>
      <vt:lpstr>Manage Data Gateway Users</vt:lpstr>
      <vt:lpstr>Manage Data Gateway Users</vt:lpstr>
      <vt:lpstr>Manage gateway installers</vt:lpstr>
      <vt:lpstr>High-availability clusters for data gateway</vt:lpstr>
      <vt:lpstr>Communication settings for Data Gateway</vt:lpstr>
      <vt:lpstr>Update an on-premises data gateway</vt:lpstr>
      <vt:lpstr>Update an on-premises data gateway</vt:lpstr>
      <vt:lpstr>Update an on-premises data gateway</vt:lpstr>
      <vt:lpstr>Migrate, restore, or take over a data gateway</vt:lpstr>
      <vt:lpstr>Migrate, restore, or take over a data gateway</vt:lpstr>
      <vt:lpstr>Use PowerShell to manage gateways</vt:lpstr>
      <vt:lpstr>Questions?</vt:lpstr>
      <vt:lpstr>Lab 1 and 2</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ike O'Neill</dc:creator>
  <cp:lastModifiedBy>Moris Montejo</cp:lastModifiedBy>
  <cp:revision>207</cp:revision>
  <dcterms:created xsi:type="dcterms:W3CDTF">2019-02-08T20:09:46Z</dcterms:created>
  <dcterms:modified xsi:type="dcterms:W3CDTF">2023-05-04T14:0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D894FC83E0D2D145AC061E7B85D76DFA</vt:lpwstr>
  </property>
  <property fmtid="{D5CDD505-2E9C-101B-9397-08002B2CF9AE}" pid="12" name="_dlc_DocIdItemGuid">
    <vt:lpwstr>faeaa986-2e78-4567-bd40-f1286550cf24</vt:lpwstr>
  </property>
  <property fmtid="{D5CDD505-2E9C-101B-9397-08002B2CF9AE}" pid="13" name="MediaServiceImageTags">
    <vt:lpwstr/>
  </property>
  <property fmtid="{D5CDD505-2E9C-101B-9397-08002B2CF9AE}" pid="14" name="ClassificationContentMarkingFooterLocations">
    <vt:lpwstr>Dark Blue:5</vt:lpwstr>
  </property>
  <property fmtid="{D5CDD505-2E9C-101B-9397-08002B2CF9AE}" pid="15" name="ClassificationContentMarkingFooterText">
    <vt:lpwstr>Classified as Microsoft Confidential</vt:lpwstr>
  </property>
  <property fmtid="{D5CDD505-2E9C-101B-9397-08002B2CF9AE}" pid="16" name="Order">
    <vt:r8>10600</vt:r8>
  </property>
  <property fmtid="{D5CDD505-2E9C-101B-9397-08002B2CF9AE}" pid="17" name="xd_Signature">
    <vt:bool>false</vt:bool>
  </property>
  <property fmtid="{D5CDD505-2E9C-101B-9397-08002B2CF9AE}" pid="18" name="xd_ProgID">
    <vt:lpwstr/>
  </property>
  <property fmtid="{D5CDD505-2E9C-101B-9397-08002B2CF9AE}" pid="19" name="_SourceUrl">
    <vt:lpwstr/>
  </property>
  <property fmtid="{D5CDD505-2E9C-101B-9397-08002B2CF9AE}" pid="20" name="_SharedFileIndex">
    <vt:lpwstr/>
  </property>
  <property fmtid="{D5CDD505-2E9C-101B-9397-08002B2CF9AE}" pid="21" name="TemplateUrl">
    <vt:lpwstr/>
  </property>
  <property fmtid="{D5CDD505-2E9C-101B-9397-08002B2CF9AE}" pid="22" name="ComplianceAssetId">
    <vt:lpwstr/>
  </property>
  <property fmtid="{D5CDD505-2E9C-101B-9397-08002B2CF9AE}" pid="23" name="_ExtendedDescription">
    <vt:lpwstr/>
  </property>
  <property fmtid="{D5CDD505-2E9C-101B-9397-08002B2CF9AE}" pid="24" name="TriggerFlowInfo">
    <vt:lpwstr/>
  </property>
</Properties>
</file>